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ink/ink1.xml" ContentType="application/inkml+xml"/>
  <Override PartName="/ppt/tags/tag13.xml" ContentType="application/vnd.openxmlformats-officedocument.presentationml.tags+xml"/>
  <Override PartName="/ppt/ink/ink2.xml" ContentType="application/inkml+xml"/>
  <Override PartName="/ppt/tags/tag1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ink/ink3.xml" ContentType="application/inkml+xml"/>
  <Override PartName="/ppt/ink/ink4.xml" ContentType="application/inkml+xml"/>
  <Override PartName="/ppt/tags/tag16.xml" ContentType="application/vnd.openxmlformats-officedocument.presentationml.tags+xml"/>
  <Override PartName="/ppt/notesSlides/notesSlide1.xml" ContentType="application/vnd.openxmlformats-officedocument.presentationml.notesSlide+xml"/>
  <Override PartName="/ppt/ink/ink5.xml" ContentType="application/inkml+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ink/ink6.xml" ContentType="application/inkml+xml"/>
  <Override PartName="/ppt/tags/tag24.xml" ContentType="application/vnd.openxmlformats-officedocument.presentationml.tags+xml"/>
  <Override PartName="/ppt/ink/ink7.xml" ContentType="application/inkml+xml"/>
  <Override PartName="/ppt/tags/tag25.xml" ContentType="application/vnd.openxmlformats-officedocument.presentationml.tags+xml"/>
  <Override PartName="/ppt/tags/tag2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696" r:id="rId3"/>
    <p:sldMasterId id="2147483708" r:id="rId4"/>
    <p:sldMasterId id="2147483720" r:id="rId5"/>
    <p:sldMasterId id="2147483732" r:id="rId6"/>
    <p:sldMasterId id="2147483744" r:id="rId7"/>
  </p:sldMasterIdLst>
  <p:notesMasterIdLst>
    <p:notesMasterId r:id="rId26"/>
  </p:notesMasterIdLst>
  <p:sldIdLst>
    <p:sldId id="257" r:id="rId8"/>
    <p:sldId id="286" r:id="rId9"/>
    <p:sldId id="285" r:id="rId10"/>
    <p:sldId id="258" r:id="rId11"/>
    <p:sldId id="259" r:id="rId12"/>
    <p:sldId id="265" r:id="rId13"/>
    <p:sldId id="261" r:id="rId14"/>
    <p:sldId id="263" r:id="rId15"/>
    <p:sldId id="264" r:id="rId16"/>
    <p:sldId id="283" r:id="rId17"/>
    <p:sldId id="266" r:id="rId18"/>
    <p:sldId id="284" r:id="rId19"/>
    <p:sldId id="276" r:id="rId20"/>
    <p:sldId id="281" r:id="rId21"/>
    <p:sldId id="282" r:id="rId22"/>
    <p:sldId id="278" r:id="rId23"/>
    <p:sldId id="287" r:id="rId24"/>
    <p:sldId id="277"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CEBCEF-F923-4285-B47B-759585E29CD4}" v="4" dt="2021-10-16T05:09:21.6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173" autoAdjust="0"/>
  </p:normalViewPr>
  <p:slideViewPr>
    <p:cSldViewPr snapToGrid="0">
      <p:cViewPr varScale="1">
        <p:scale>
          <a:sx n="61" d="100"/>
          <a:sy n="61" d="100"/>
        </p:scale>
        <p:origin x="88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ags" Target="tags/tag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iket Chhabra" userId="598e0514-bef3-4e71-b6aa-f2edd6441cff" providerId="ADAL" clId="{31CEBCEF-F923-4285-B47B-759585E29CD4}"/>
    <pc:docChg chg="modSld">
      <pc:chgData name="Aniket Chhabra" userId="598e0514-bef3-4e71-b6aa-f2edd6441cff" providerId="ADAL" clId="{31CEBCEF-F923-4285-B47B-759585E29CD4}" dt="2021-10-16T05:09:21.656" v="3"/>
      <pc:docMkLst>
        <pc:docMk/>
      </pc:docMkLst>
      <pc:sldChg chg="addSp">
        <pc:chgData name="Aniket Chhabra" userId="598e0514-bef3-4e71-b6aa-f2edd6441cff" providerId="ADAL" clId="{31CEBCEF-F923-4285-B47B-759585E29CD4}" dt="2021-10-16T03:52:11.636" v="0"/>
        <pc:sldMkLst>
          <pc:docMk/>
          <pc:sldMk cId="3488577701" sldId="258"/>
        </pc:sldMkLst>
        <pc:inkChg chg="add">
          <ac:chgData name="Aniket Chhabra" userId="598e0514-bef3-4e71-b6aa-f2edd6441cff" providerId="ADAL" clId="{31CEBCEF-F923-4285-B47B-759585E29CD4}" dt="2021-10-16T03:52:11.636" v="0"/>
          <ac:inkMkLst>
            <pc:docMk/>
            <pc:sldMk cId="3488577701" sldId="258"/>
            <ac:inkMk id="3" creationId="{4E2C4ABE-9F8A-41B7-AF91-CD3BDF2CD91C}"/>
          </ac:inkMkLst>
        </pc:inkChg>
      </pc:sldChg>
      <pc:sldChg chg="addSp">
        <pc:chgData name="Aniket Chhabra" userId="598e0514-bef3-4e71-b6aa-f2edd6441cff" providerId="ADAL" clId="{31CEBCEF-F923-4285-B47B-759585E29CD4}" dt="2021-10-16T04:41:29.026" v="1"/>
        <pc:sldMkLst>
          <pc:docMk/>
          <pc:sldMk cId="883722326" sldId="259"/>
        </pc:sldMkLst>
        <pc:inkChg chg="add">
          <ac:chgData name="Aniket Chhabra" userId="598e0514-bef3-4e71-b6aa-f2edd6441cff" providerId="ADAL" clId="{31CEBCEF-F923-4285-B47B-759585E29CD4}" dt="2021-10-16T04:41:29.026" v="1"/>
          <ac:inkMkLst>
            <pc:docMk/>
            <pc:sldMk cId="883722326" sldId="259"/>
            <ac:inkMk id="3" creationId="{AB1736C1-1A47-42E6-8413-6CFE30169578}"/>
          </ac:inkMkLst>
        </pc:inkChg>
      </pc:sldChg>
      <pc:sldChg chg="addSp">
        <pc:chgData name="Aniket Chhabra" userId="598e0514-bef3-4e71-b6aa-f2edd6441cff" providerId="ADAL" clId="{31CEBCEF-F923-4285-B47B-759585E29CD4}" dt="2021-10-16T04:55:36.013" v="2"/>
        <pc:sldMkLst>
          <pc:docMk/>
          <pc:sldMk cId="2330712525" sldId="261"/>
        </pc:sldMkLst>
        <pc:inkChg chg="add">
          <ac:chgData name="Aniket Chhabra" userId="598e0514-bef3-4e71-b6aa-f2edd6441cff" providerId="ADAL" clId="{31CEBCEF-F923-4285-B47B-759585E29CD4}" dt="2021-10-16T04:41:29.026" v="1"/>
          <ac:inkMkLst>
            <pc:docMk/>
            <pc:sldMk cId="2330712525" sldId="261"/>
            <ac:inkMk id="4" creationId="{C79DC66A-1372-4912-9374-E5E0EC5519A7}"/>
          </ac:inkMkLst>
        </pc:inkChg>
        <pc:inkChg chg="add">
          <ac:chgData name="Aniket Chhabra" userId="598e0514-bef3-4e71-b6aa-f2edd6441cff" providerId="ADAL" clId="{31CEBCEF-F923-4285-B47B-759585E29CD4}" dt="2021-10-16T04:55:36.013" v="2"/>
          <ac:inkMkLst>
            <pc:docMk/>
            <pc:sldMk cId="2330712525" sldId="261"/>
            <ac:inkMk id="6" creationId="{3F8D3848-FC53-4476-86FE-224926686D8F}"/>
          </ac:inkMkLst>
        </pc:inkChg>
      </pc:sldChg>
      <pc:sldChg chg="addSp">
        <pc:chgData name="Aniket Chhabra" userId="598e0514-bef3-4e71-b6aa-f2edd6441cff" providerId="ADAL" clId="{31CEBCEF-F923-4285-B47B-759585E29CD4}" dt="2021-10-16T04:41:29.026" v="1"/>
        <pc:sldMkLst>
          <pc:docMk/>
          <pc:sldMk cId="3191205605" sldId="263"/>
        </pc:sldMkLst>
        <pc:inkChg chg="add">
          <ac:chgData name="Aniket Chhabra" userId="598e0514-bef3-4e71-b6aa-f2edd6441cff" providerId="ADAL" clId="{31CEBCEF-F923-4285-B47B-759585E29CD4}" dt="2021-10-16T04:41:29.026" v="1"/>
          <ac:inkMkLst>
            <pc:docMk/>
            <pc:sldMk cId="3191205605" sldId="263"/>
            <ac:inkMk id="3" creationId="{A1ACF6B1-22C1-41F9-A1D7-52820D6AD6D3}"/>
          </ac:inkMkLst>
        </pc:inkChg>
      </pc:sldChg>
      <pc:sldChg chg="addSp">
        <pc:chgData name="Aniket Chhabra" userId="598e0514-bef3-4e71-b6aa-f2edd6441cff" providerId="ADAL" clId="{31CEBCEF-F923-4285-B47B-759585E29CD4}" dt="2021-10-16T05:09:21.656" v="3"/>
        <pc:sldMkLst>
          <pc:docMk/>
          <pc:sldMk cId="3761000135" sldId="278"/>
        </pc:sldMkLst>
        <pc:inkChg chg="add">
          <ac:chgData name="Aniket Chhabra" userId="598e0514-bef3-4e71-b6aa-f2edd6441cff" providerId="ADAL" clId="{31CEBCEF-F923-4285-B47B-759585E29CD4}" dt="2021-10-16T05:09:21.656" v="3"/>
          <ac:inkMkLst>
            <pc:docMk/>
            <pc:sldMk cId="3761000135" sldId="278"/>
            <ac:inkMk id="2" creationId="{6A36A93D-9718-42C1-B6AF-3C5CDE75BBE8}"/>
          </ac:inkMkLst>
        </pc:inkChg>
      </pc:sldChg>
      <pc:sldChg chg="addSp">
        <pc:chgData name="Aniket Chhabra" userId="598e0514-bef3-4e71-b6aa-f2edd6441cff" providerId="ADAL" clId="{31CEBCEF-F923-4285-B47B-759585E29CD4}" dt="2021-10-16T05:09:21.656" v="3"/>
        <pc:sldMkLst>
          <pc:docMk/>
          <pc:sldMk cId="3628606818" sldId="282"/>
        </pc:sldMkLst>
        <pc:inkChg chg="add">
          <ac:chgData name="Aniket Chhabra" userId="598e0514-bef3-4e71-b6aa-f2edd6441cff" providerId="ADAL" clId="{31CEBCEF-F923-4285-B47B-759585E29CD4}" dt="2021-10-16T05:09:21.656" v="3"/>
          <ac:inkMkLst>
            <pc:docMk/>
            <pc:sldMk cId="3628606818" sldId="282"/>
            <ac:inkMk id="2" creationId="{5BEB4DB0-084D-4482-8CA8-0B265ACD716C}"/>
          </ac:inkMkLst>
        </pc:inkChg>
      </pc:sldChg>
    </pc:docChg>
  </pc:docChgLst>
  <pc:docChgLst>
    <pc:chgData name="Aniket Chhabra" userId="598e0514-bef3-4e71-b6aa-f2edd6441cff" providerId="ADAL" clId="{1E0742E9-302E-4BA7-A441-657099638712}"/>
    <pc:docChg chg="undo redo custSel addSld delSld modSld sldOrd delMainMaster">
      <pc:chgData name="Aniket Chhabra" userId="598e0514-bef3-4e71-b6aa-f2edd6441cff" providerId="ADAL" clId="{1E0742E9-302E-4BA7-A441-657099638712}" dt="2021-03-30T03:16:58.525" v="5896"/>
      <pc:docMkLst>
        <pc:docMk/>
      </pc:docMkLst>
      <pc:sldChg chg="addSp delSp mod">
        <pc:chgData name="Aniket Chhabra" userId="598e0514-bef3-4e71-b6aa-f2edd6441cff" providerId="ADAL" clId="{1E0742E9-302E-4BA7-A441-657099638712}" dt="2021-03-30T01:08:26.553" v="4641" actId="22"/>
        <pc:sldMkLst>
          <pc:docMk/>
          <pc:sldMk cId="748387421" sldId="257"/>
        </pc:sldMkLst>
        <pc:spChg chg="add del">
          <ac:chgData name="Aniket Chhabra" userId="598e0514-bef3-4e71-b6aa-f2edd6441cff" providerId="ADAL" clId="{1E0742E9-302E-4BA7-A441-657099638712}" dt="2021-03-30T01:08:26.553" v="4641" actId="22"/>
          <ac:spMkLst>
            <pc:docMk/>
            <pc:sldMk cId="748387421" sldId="257"/>
            <ac:spMk id="11" creationId="{2967C868-D97D-40F3-8A23-AD1B0F476466}"/>
          </ac:spMkLst>
        </pc:spChg>
      </pc:sldChg>
      <pc:sldChg chg="addSp delSp modSp mod">
        <pc:chgData name="Aniket Chhabra" userId="598e0514-bef3-4e71-b6aa-f2edd6441cff" providerId="ADAL" clId="{1E0742E9-302E-4BA7-A441-657099638712}" dt="2021-03-30T01:12:16.659" v="4980"/>
        <pc:sldMkLst>
          <pc:docMk/>
          <pc:sldMk cId="3488577701" sldId="258"/>
        </pc:sldMkLst>
        <pc:spChg chg="mod">
          <ac:chgData name="Aniket Chhabra" userId="598e0514-bef3-4e71-b6aa-f2edd6441cff" providerId="ADAL" clId="{1E0742E9-302E-4BA7-A441-657099638712}" dt="2021-03-30T01:12:16.554" v="4928" actId="948"/>
          <ac:spMkLst>
            <pc:docMk/>
            <pc:sldMk cId="3488577701" sldId="258"/>
            <ac:spMk id="2" creationId="{7183013F-CCFC-4588-B693-22F514492FED}"/>
          </ac:spMkLst>
        </pc:spChg>
        <pc:spChg chg="add del mod modVis">
          <ac:chgData name="Aniket Chhabra" userId="598e0514-bef3-4e71-b6aa-f2edd6441cff" providerId="ADAL" clId="{1E0742E9-302E-4BA7-A441-657099638712}" dt="2021-03-30T01:12:16.614" v="4965"/>
          <ac:spMkLst>
            <pc:docMk/>
            <pc:sldMk cId="3488577701" sldId="258"/>
            <ac:spMk id="3" creationId="{46D6180E-DE34-4CC9-AD19-07209E0281CA}"/>
          </ac:spMkLst>
        </pc:spChg>
        <pc:spChg chg="mod">
          <ac:chgData name="Aniket Chhabra" userId="598e0514-bef3-4e71-b6aa-f2edd6441cff" providerId="ADAL" clId="{1E0742E9-302E-4BA7-A441-657099638712}" dt="2021-03-29T01:23:50.450" v="3766" actId="20577"/>
          <ac:spMkLst>
            <pc:docMk/>
            <pc:sldMk cId="3488577701" sldId="258"/>
            <ac:spMk id="9" creationId="{9F944C8C-941B-4D9A-8A8E-104458ED8E9C}"/>
          </ac:spMkLst>
        </pc:spChg>
        <pc:graphicFrameChg chg="add mod ord modVis">
          <ac:chgData name="Aniket Chhabra" userId="598e0514-bef3-4e71-b6aa-f2edd6441cff" providerId="ADAL" clId="{1E0742E9-302E-4BA7-A441-657099638712}" dt="2021-03-30T01:12:16.659" v="4980"/>
          <ac:graphicFrameMkLst>
            <pc:docMk/>
            <pc:sldMk cId="3488577701" sldId="258"/>
            <ac:graphicFrameMk id="6" creationId="{91DF1F56-9953-46EE-A5A6-728FF5037336}"/>
          </ac:graphicFrameMkLst>
        </pc:graphicFrameChg>
      </pc:sldChg>
      <pc:sldChg chg="addSp delSp modSp mod ord">
        <pc:chgData name="Aniket Chhabra" userId="598e0514-bef3-4e71-b6aa-f2edd6441cff" providerId="ADAL" clId="{1E0742E9-302E-4BA7-A441-657099638712}" dt="2021-03-30T02:29:32.437" v="5517"/>
        <pc:sldMkLst>
          <pc:docMk/>
          <pc:sldMk cId="883722326" sldId="259"/>
        </pc:sldMkLst>
        <pc:spChg chg="mod">
          <ac:chgData name="Aniket Chhabra" userId="598e0514-bef3-4e71-b6aa-f2edd6441cff" providerId="ADAL" clId="{1E0742E9-302E-4BA7-A441-657099638712}" dt="2021-03-30T01:12:19.179" v="4982" actId="948"/>
          <ac:spMkLst>
            <pc:docMk/>
            <pc:sldMk cId="883722326" sldId="259"/>
            <ac:spMk id="2" creationId="{7183013F-CCFC-4588-B693-22F514492FED}"/>
          </ac:spMkLst>
        </pc:spChg>
        <pc:spChg chg="add del mod modVis">
          <ac:chgData name="Aniket Chhabra" userId="598e0514-bef3-4e71-b6aa-f2edd6441cff" providerId="ADAL" clId="{1E0742E9-302E-4BA7-A441-657099638712}" dt="2021-03-30T01:12:19.235" v="5019"/>
          <ac:spMkLst>
            <pc:docMk/>
            <pc:sldMk cId="883722326" sldId="259"/>
            <ac:spMk id="3" creationId="{3698E96E-32AA-4E84-8E04-663979A5C1B0}"/>
          </ac:spMkLst>
        </pc:spChg>
        <pc:graphicFrameChg chg="add mod ord modVis">
          <ac:chgData name="Aniket Chhabra" userId="598e0514-bef3-4e71-b6aa-f2edd6441cff" providerId="ADAL" clId="{1E0742E9-302E-4BA7-A441-657099638712}" dt="2021-03-30T01:12:19.272" v="5034"/>
          <ac:graphicFrameMkLst>
            <pc:docMk/>
            <pc:sldMk cId="883722326" sldId="259"/>
            <ac:graphicFrameMk id="4" creationId="{9A9E0140-EEE7-4198-8663-9252F853E3E4}"/>
          </ac:graphicFrameMkLst>
        </pc:graphicFrameChg>
      </pc:sldChg>
      <pc:sldChg chg="addSp delSp modSp del mod">
        <pc:chgData name="Aniket Chhabra" userId="598e0514-bef3-4e71-b6aa-f2edd6441cff" providerId="ADAL" clId="{1E0742E9-302E-4BA7-A441-657099638712}" dt="2021-03-28T01:32:32.110" v="777" actId="47"/>
        <pc:sldMkLst>
          <pc:docMk/>
          <pc:sldMk cId="2455168547" sldId="260"/>
        </pc:sldMkLst>
        <pc:spChg chg="mod">
          <ac:chgData name="Aniket Chhabra" userId="598e0514-bef3-4e71-b6aa-f2edd6441cff" providerId="ADAL" clId="{1E0742E9-302E-4BA7-A441-657099638712}" dt="2021-03-28T01:24:23.283" v="103" actId="948"/>
          <ac:spMkLst>
            <pc:docMk/>
            <pc:sldMk cId="2455168547" sldId="260"/>
            <ac:spMk id="2" creationId="{7183013F-CCFC-4588-B693-22F514492FED}"/>
          </ac:spMkLst>
        </pc:spChg>
        <pc:spChg chg="add del mod modVis">
          <ac:chgData name="Aniket Chhabra" userId="598e0514-bef3-4e71-b6aa-f2edd6441cff" providerId="ADAL" clId="{1E0742E9-302E-4BA7-A441-657099638712}" dt="2021-03-28T01:24:20.147" v="43"/>
          <ac:spMkLst>
            <pc:docMk/>
            <pc:sldMk cId="2455168547" sldId="260"/>
            <ac:spMk id="3" creationId="{74B6CC88-E383-4999-B46A-49228482E21C}"/>
          </ac:spMkLst>
        </pc:spChg>
        <pc:spChg chg="add del mod modVis">
          <ac:chgData name="Aniket Chhabra" userId="598e0514-bef3-4e71-b6aa-f2edd6441cff" providerId="ADAL" clId="{1E0742E9-302E-4BA7-A441-657099638712}" dt="2021-03-28T01:24:21.065" v="99"/>
          <ac:spMkLst>
            <pc:docMk/>
            <pc:sldMk cId="2455168547" sldId="260"/>
            <ac:spMk id="5" creationId="{B46FB07E-17D9-45F9-802C-45DF30A52BD5}"/>
          </ac:spMkLst>
        </pc:spChg>
        <pc:spChg chg="add del mod modVis">
          <ac:chgData name="Aniket Chhabra" userId="598e0514-bef3-4e71-b6aa-f2edd6441cff" providerId="ADAL" clId="{1E0742E9-302E-4BA7-A441-657099638712}" dt="2021-03-28T01:24:23.327" v="140"/>
          <ac:spMkLst>
            <pc:docMk/>
            <pc:sldMk cId="2455168547" sldId="260"/>
            <ac:spMk id="6" creationId="{5B8EB251-85F5-4689-BF6C-05261CE46F2D}"/>
          </ac:spMkLst>
        </pc:spChg>
        <pc:graphicFrameChg chg="add mod ord modVis">
          <ac:chgData name="Aniket Chhabra" userId="598e0514-bef3-4e71-b6aa-f2edd6441cff" providerId="ADAL" clId="{1E0742E9-302E-4BA7-A441-657099638712}" dt="2021-03-28T01:24:23.331" v="142"/>
          <ac:graphicFrameMkLst>
            <pc:docMk/>
            <pc:sldMk cId="2455168547" sldId="260"/>
            <ac:graphicFrameMk id="4" creationId="{20B89A45-5DE6-4F52-8FB4-3284DC1B4E2C}"/>
          </ac:graphicFrameMkLst>
        </pc:graphicFrameChg>
      </pc:sldChg>
      <pc:sldChg chg="addSp delSp modSp mod">
        <pc:chgData name="Aniket Chhabra" userId="598e0514-bef3-4e71-b6aa-f2edd6441cff" providerId="ADAL" clId="{1E0742E9-302E-4BA7-A441-657099638712}" dt="2021-03-30T01:12:24.510" v="5129"/>
        <pc:sldMkLst>
          <pc:docMk/>
          <pc:sldMk cId="2330712525" sldId="261"/>
        </pc:sldMkLst>
        <pc:spChg chg="mod">
          <ac:chgData name="Aniket Chhabra" userId="598e0514-bef3-4e71-b6aa-f2edd6441cff" providerId="ADAL" clId="{1E0742E9-302E-4BA7-A441-657099638712}" dt="2021-03-30T01:12:24.418" v="5077" actId="948"/>
          <ac:spMkLst>
            <pc:docMk/>
            <pc:sldMk cId="2330712525" sldId="261"/>
            <ac:spMk id="2" creationId="{7183013F-CCFC-4588-B693-22F514492FED}"/>
          </ac:spMkLst>
        </pc:spChg>
        <pc:spChg chg="add del mod modVis">
          <ac:chgData name="Aniket Chhabra" userId="598e0514-bef3-4e71-b6aa-f2edd6441cff" providerId="ADAL" clId="{1E0742E9-302E-4BA7-A441-657099638712}" dt="2021-03-30T01:12:24.467" v="5114"/>
          <ac:spMkLst>
            <pc:docMk/>
            <pc:sldMk cId="2330712525" sldId="261"/>
            <ac:spMk id="4" creationId="{B251E3A5-A7B8-4E29-B76A-036B2138076E}"/>
          </ac:spMkLst>
        </pc:spChg>
        <pc:graphicFrameChg chg="add mod ord modVis">
          <ac:chgData name="Aniket Chhabra" userId="598e0514-bef3-4e71-b6aa-f2edd6441cff" providerId="ADAL" clId="{1E0742E9-302E-4BA7-A441-657099638712}" dt="2021-03-30T01:12:24.510" v="5129"/>
          <ac:graphicFrameMkLst>
            <pc:docMk/>
            <pc:sldMk cId="2330712525" sldId="261"/>
            <ac:graphicFrameMk id="5" creationId="{FAE3FB31-6380-436F-9C4E-80D5E0E77300}"/>
          </ac:graphicFrameMkLst>
        </pc:graphicFrameChg>
      </pc:sldChg>
      <pc:sldChg chg="addSp delSp modSp mod">
        <pc:chgData name="Aniket Chhabra" userId="598e0514-bef3-4e71-b6aa-f2edd6441cff" providerId="ADAL" clId="{1E0742E9-302E-4BA7-A441-657099638712}" dt="2021-03-30T01:12:27.995" v="5183"/>
        <pc:sldMkLst>
          <pc:docMk/>
          <pc:sldMk cId="3191205605" sldId="263"/>
        </pc:sldMkLst>
        <pc:spChg chg="mod">
          <ac:chgData name="Aniket Chhabra" userId="598e0514-bef3-4e71-b6aa-f2edd6441cff" providerId="ADAL" clId="{1E0742E9-302E-4BA7-A441-657099638712}" dt="2021-03-30T01:12:27.897" v="5131" actId="948"/>
          <ac:spMkLst>
            <pc:docMk/>
            <pc:sldMk cId="3191205605" sldId="263"/>
            <ac:spMk id="2" creationId="{7183013F-CCFC-4588-B693-22F514492FED}"/>
          </ac:spMkLst>
        </pc:spChg>
        <pc:spChg chg="add del mod modVis">
          <ac:chgData name="Aniket Chhabra" userId="598e0514-bef3-4e71-b6aa-f2edd6441cff" providerId="ADAL" clId="{1E0742E9-302E-4BA7-A441-657099638712}" dt="2021-03-30T01:12:27.949" v="5168"/>
          <ac:spMkLst>
            <pc:docMk/>
            <pc:sldMk cId="3191205605" sldId="263"/>
            <ac:spMk id="3" creationId="{408E1E04-37F3-4E92-8DD0-702674C08B79}"/>
          </ac:spMkLst>
        </pc:spChg>
        <pc:graphicFrameChg chg="add mod ord modVis">
          <ac:chgData name="Aniket Chhabra" userId="598e0514-bef3-4e71-b6aa-f2edd6441cff" providerId="ADAL" clId="{1E0742E9-302E-4BA7-A441-657099638712}" dt="2021-03-30T01:12:27.995" v="5183"/>
          <ac:graphicFrameMkLst>
            <pc:docMk/>
            <pc:sldMk cId="3191205605" sldId="263"/>
            <ac:graphicFrameMk id="4" creationId="{39C95D5F-4FE0-4D4F-B153-73831168E3F6}"/>
          </ac:graphicFrameMkLst>
        </pc:graphicFrameChg>
        <pc:picChg chg="mod">
          <ac:chgData name="Aniket Chhabra" userId="598e0514-bef3-4e71-b6aa-f2edd6441cff" providerId="ADAL" clId="{1E0742E9-302E-4BA7-A441-657099638712}" dt="2021-03-29T03:19:22.352" v="3770" actId="14100"/>
          <ac:picMkLst>
            <pc:docMk/>
            <pc:sldMk cId="3191205605" sldId="263"/>
            <ac:picMk id="7" creationId="{41F958F5-6865-4A3F-929D-B6F753AC2D76}"/>
          </ac:picMkLst>
        </pc:picChg>
      </pc:sldChg>
      <pc:sldChg chg="addSp delSp modSp mod">
        <pc:chgData name="Aniket Chhabra" userId="598e0514-bef3-4e71-b6aa-f2edd6441cff" providerId="ADAL" clId="{1E0742E9-302E-4BA7-A441-657099638712}" dt="2021-03-30T01:12:32.740" v="5237"/>
        <pc:sldMkLst>
          <pc:docMk/>
          <pc:sldMk cId="1623957952" sldId="264"/>
        </pc:sldMkLst>
        <pc:spChg chg="mod">
          <ac:chgData name="Aniket Chhabra" userId="598e0514-bef3-4e71-b6aa-f2edd6441cff" providerId="ADAL" clId="{1E0742E9-302E-4BA7-A441-657099638712}" dt="2021-03-30T01:12:32.649" v="5185" actId="948"/>
          <ac:spMkLst>
            <pc:docMk/>
            <pc:sldMk cId="1623957952" sldId="264"/>
            <ac:spMk id="2" creationId="{7183013F-CCFC-4588-B693-22F514492FED}"/>
          </ac:spMkLst>
        </pc:spChg>
        <pc:spChg chg="add del mod modVis">
          <ac:chgData name="Aniket Chhabra" userId="598e0514-bef3-4e71-b6aa-f2edd6441cff" providerId="ADAL" clId="{1E0742E9-302E-4BA7-A441-657099638712}" dt="2021-03-30T01:12:32.695" v="5222"/>
          <ac:spMkLst>
            <pc:docMk/>
            <pc:sldMk cId="1623957952" sldId="264"/>
            <ac:spMk id="3" creationId="{BB1EE9EF-8D64-491A-9B65-D5F4BA8657F8}"/>
          </ac:spMkLst>
        </pc:spChg>
        <pc:graphicFrameChg chg="add mod ord modVis">
          <ac:chgData name="Aniket Chhabra" userId="598e0514-bef3-4e71-b6aa-f2edd6441cff" providerId="ADAL" clId="{1E0742E9-302E-4BA7-A441-657099638712}" dt="2021-03-30T01:12:32.740" v="5237"/>
          <ac:graphicFrameMkLst>
            <pc:docMk/>
            <pc:sldMk cId="1623957952" sldId="264"/>
            <ac:graphicFrameMk id="4" creationId="{B993E3C7-B639-4AB3-97F5-2E3E564C5516}"/>
          </ac:graphicFrameMkLst>
        </pc:graphicFrameChg>
      </pc:sldChg>
      <pc:sldChg chg="addSp delSp modSp mod ord">
        <pc:chgData name="Aniket Chhabra" userId="598e0514-bef3-4e71-b6aa-f2edd6441cff" providerId="ADAL" clId="{1E0742E9-302E-4BA7-A441-657099638712}" dt="2021-03-30T01:12:21.557" v="5075"/>
        <pc:sldMkLst>
          <pc:docMk/>
          <pc:sldMk cId="3984249581" sldId="265"/>
        </pc:sldMkLst>
        <pc:spChg chg="mod">
          <ac:chgData name="Aniket Chhabra" userId="598e0514-bef3-4e71-b6aa-f2edd6441cff" providerId="ADAL" clId="{1E0742E9-302E-4BA7-A441-657099638712}" dt="2021-03-30T01:12:21.499" v="5036" actId="948"/>
          <ac:spMkLst>
            <pc:docMk/>
            <pc:sldMk cId="3984249581" sldId="265"/>
            <ac:spMk id="2" creationId="{8930873A-47BB-4799-A633-7CD6F940B805}"/>
          </ac:spMkLst>
        </pc:spChg>
        <pc:spChg chg="add del mod modVis">
          <ac:chgData name="Aniket Chhabra" userId="598e0514-bef3-4e71-b6aa-f2edd6441cff" providerId="ADAL" clId="{1E0742E9-302E-4BA7-A441-657099638712}" dt="2021-03-30T01:12:21.551" v="5073"/>
          <ac:spMkLst>
            <pc:docMk/>
            <pc:sldMk cId="3984249581" sldId="265"/>
            <ac:spMk id="3" creationId="{ADED0F69-7406-4CEC-8C85-3A0128296DA0}"/>
          </ac:spMkLst>
        </pc:spChg>
        <pc:spChg chg="add del mod modVis">
          <ac:chgData name="Aniket Chhabra" userId="598e0514-bef3-4e71-b6aa-f2edd6441cff" providerId="ADAL" clId="{1E0742E9-302E-4BA7-A441-657099638712}" dt="2021-03-28T01:24:37.721" v="199"/>
          <ac:spMkLst>
            <pc:docMk/>
            <pc:sldMk cId="3984249581" sldId="265"/>
            <ac:spMk id="3" creationId="{ECAF411E-913A-4B5E-9FD4-CF0FE869CA3F}"/>
          </ac:spMkLst>
        </pc:spChg>
        <pc:spChg chg="add del mod modVis">
          <ac:chgData name="Aniket Chhabra" userId="598e0514-bef3-4e71-b6aa-f2edd6441cff" providerId="ADAL" clId="{1E0742E9-302E-4BA7-A441-657099638712}" dt="2021-03-28T01:24:39.212" v="260"/>
          <ac:spMkLst>
            <pc:docMk/>
            <pc:sldMk cId="3984249581" sldId="265"/>
            <ac:spMk id="5" creationId="{10F697C6-5335-48D8-ADBC-F561B44CE725}"/>
          </ac:spMkLst>
        </pc:spChg>
        <pc:spChg chg="add del mod modVis">
          <ac:chgData name="Aniket Chhabra" userId="598e0514-bef3-4e71-b6aa-f2edd6441cff" providerId="ADAL" clId="{1E0742E9-302E-4BA7-A441-657099638712}" dt="2021-03-28T01:24:40.391" v="304"/>
          <ac:spMkLst>
            <pc:docMk/>
            <pc:sldMk cId="3984249581" sldId="265"/>
            <ac:spMk id="6" creationId="{4DBA9DA7-D8AC-4544-A4D3-16E089A549DA}"/>
          </ac:spMkLst>
        </pc:spChg>
        <pc:spChg chg="add del mod modVis">
          <ac:chgData name="Aniket Chhabra" userId="598e0514-bef3-4e71-b6aa-f2edd6441cff" providerId="ADAL" clId="{1E0742E9-302E-4BA7-A441-657099638712}" dt="2021-03-28T01:24:40.471" v="345"/>
          <ac:spMkLst>
            <pc:docMk/>
            <pc:sldMk cId="3984249581" sldId="265"/>
            <ac:spMk id="7" creationId="{C23D31FD-F37D-4C80-8C1E-D43F8A771ADB}"/>
          </ac:spMkLst>
        </pc:spChg>
        <pc:spChg chg="add del mod modVis">
          <ac:chgData name="Aniket Chhabra" userId="598e0514-bef3-4e71-b6aa-f2edd6441cff" providerId="ADAL" clId="{1E0742E9-302E-4BA7-A441-657099638712}" dt="2021-03-28T01:24:41.693" v="389"/>
          <ac:spMkLst>
            <pc:docMk/>
            <pc:sldMk cId="3984249581" sldId="265"/>
            <ac:spMk id="8" creationId="{3B9B73CB-A610-4CAB-8385-2BC6EA2C8727}"/>
          </ac:spMkLst>
        </pc:spChg>
        <pc:spChg chg="add del mod modVis">
          <ac:chgData name="Aniket Chhabra" userId="598e0514-bef3-4e71-b6aa-f2edd6441cff" providerId="ADAL" clId="{1E0742E9-302E-4BA7-A441-657099638712}" dt="2021-03-28T01:24:44.267" v="430"/>
          <ac:spMkLst>
            <pc:docMk/>
            <pc:sldMk cId="3984249581" sldId="265"/>
            <ac:spMk id="9" creationId="{0A8281CF-9DC9-43B3-B79E-2103CB686676}"/>
          </ac:spMkLst>
        </pc:spChg>
        <pc:spChg chg="add del mod modVis">
          <ac:chgData name="Aniket Chhabra" userId="598e0514-bef3-4e71-b6aa-f2edd6441cff" providerId="ADAL" clId="{1E0742E9-302E-4BA7-A441-657099638712}" dt="2021-03-28T01:24:46.122" v="474"/>
          <ac:spMkLst>
            <pc:docMk/>
            <pc:sldMk cId="3984249581" sldId="265"/>
            <ac:spMk id="10" creationId="{B12EA582-C256-42AE-A29A-B0609B4F5601}"/>
          </ac:spMkLst>
        </pc:spChg>
        <pc:spChg chg="add del mod modVis">
          <ac:chgData name="Aniket Chhabra" userId="598e0514-bef3-4e71-b6aa-f2edd6441cff" providerId="ADAL" clId="{1E0742E9-302E-4BA7-A441-657099638712}" dt="2021-03-28T01:24:47.128" v="516"/>
          <ac:spMkLst>
            <pc:docMk/>
            <pc:sldMk cId="3984249581" sldId="265"/>
            <ac:spMk id="11" creationId="{D4AE856F-A3CF-4EB9-9A5D-92FD0D5D6511}"/>
          </ac:spMkLst>
        </pc:spChg>
        <pc:spChg chg="add del mod modVis">
          <ac:chgData name="Aniket Chhabra" userId="598e0514-bef3-4e71-b6aa-f2edd6441cff" providerId="ADAL" clId="{1E0742E9-302E-4BA7-A441-657099638712}" dt="2021-03-28T01:24:48.799" v="564"/>
          <ac:spMkLst>
            <pc:docMk/>
            <pc:sldMk cId="3984249581" sldId="265"/>
            <ac:spMk id="12" creationId="{B318D438-30B2-4122-BD0B-D22CDAF1395D}"/>
          </ac:spMkLst>
        </pc:spChg>
        <pc:spChg chg="add del mod modVis">
          <ac:chgData name="Aniket Chhabra" userId="598e0514-bef3-4e71-b6aa-f2edd6441cff" providerId="ADAL" clId="{1E0742E9-302E-4BA7-A441-657099638712}" dt="2021-03-28T01:25:07.888" v="606"/>
          <ac:spMkLst>
            <pc:docMk/>
            <pc:sldMk cId="3984249581" sldId="265"/>
            <ac:spMk id="13" creationId="{2C026357-D34B-454E-81AC-04624568FB00}"/>
          </ac:spMkLst>
        </pc:spChg>
        <pc:spChg chg="mod">
          <ac:chgData name="Aniket Chhabra" userId="598e0514-bef3-4e71-b6aa-f2edd6441cff" providerId="ADAL" clId="{1E0742E9-302E-4BA7-A441-657099638712}" dt="2021-03-28T01:26:51.713" v="776" actId="20577"/>
          <ac:spMkLst>
            <pc:docMk/>
            <pc:sldMk cId="3984249581" sldId="265"/>
            <ac:spMk id="37" creationId="{0C0FF37F-B282-43CF-9833-ABF3F4719E26}"/>
          </ac:spMkLst>
        </pc:spChg>
        <pc:graphicFrameChg chg="add mod ord modVis">
          <ac:chgData name="Aniket Chhabra" userId="598e0514-bef3-4e71-b6aa-f2edd6441cff" providerId="ADAL" clId="{1E0742E9-302E-4BA7-A441-657099638712}" dt="2021-03-30T01:12:21.557" v="5075"/>
          <ac:graphicFrameMkLst>
            <pc:docMk/>
            <pc:sldMk cId="3984249581" sldId="265"/>
            <ac:graphicFrameMk id="4" creationId="{FDEB0C40-4484-4E62-9571-3E21813974BC}"/>
          </ac:graphicFrameMkLst>
        </pc:graphicFrameChg>
        <pc:graphicFrameChg chg="mod">
          <ac:chgData name="Aniket Chhabra" userId="598e0514-bef3-4e71-b6aa-f2edd6441cff" providerId="ADAL" clId="{1E0742E9-302E-4BA7-A441-657099638712}" dt="2021-03-28T01:24:55.702" v="567" actId="1076"/>
          <ac:graphicFrameMkLst>
            <pc:docMk/>
            <pc:sldMk cId="3984249581" sldId="265"/>
            <ac:graphicFrameMk id="34" creationId="{DB09E4A5-DDFA-473D-BC65-826FDCF31E64}"/>
          </ac:graphicFrameMkLst>
        </pc:graphicFrameChg>
      </pc:sldChg>
      <pc:sldChg chg="addSp delSp modSp mod ord">
        <pc:chgData name="Aniket Chhabra" userId="598e0514-bef3-4e71-b6aa-f2edd6441cff" providerId="ADAL" clId="{1E0742E9-302E-4BA7-A441-657099638712}" dt="2021-03-30T01:12:39.463" v="5292"/>
        <pc:sldMkLst>
          <pc:docMk/>
          <pc:sldMk cId="371788107" sldId="266"/>
        </pc:sldMkLst>
        <pc:spChg chg="add del mod modVis">
          <ac:chgData name="Aniket Chhabra" userId="598e0514-bef3-4e71-b6aa-f2edd6441cff" providerId="ADAL" clId="{1E0742E9-302E-4BA7-A441-657099638712}" dt="2021-03-30T01:12:39.432" v="5277"/>
          <ac:spMkLst>
            <pc:docMk/>
            <pc:sldMk cId="371788107" sldId="266"/>
            <ac:spMk id="2" creationId="{9947DF52-757E-42CD-A3C3-BD1FFA44D463}"/>
          </ac:spMkLst>
        </pc:spChg>
        <pc:spChg chg="mod">
          <ac:chgData name="Aniket Chhabra" userId="598e0514-bef3-4e71-b6aa-f2edd6441cff" providerId="ADAL" clId="{1E0742E9-302E-4BA7-A441-657099638712}" dt="2021-03-30T01:12:39.381" v="5240" actId="948"/>
          <ac:spMkLst>
            <pc:docMk/>
            <pc:sldMk cId="371788107" sldId="266"/>
            <ac:spMk id="6" creationId="{88494800-514D-4B65-B6DD-AF40FBEE70D2}"/>
          </ac:spMkLst>
        </pc:spChg>
        <pc:graphicFrameChg chg="add mod ord modVis">
          <ac:chgData name="Aniket Chhabra" userId="598e0514-bef3-4e71-b6aa-f2edd6441cff" providerId="ADAL" clId="{1E0742E9-302E-4BA7-A441-657099638712}" dt="2021-03-30T01:12:39.463" v="5292"/>
          <ac:graphicFrameMkLst>
            <pc:docMk/>
            <pc:sldMk cId="371788107" sldId="266"/>
            <ac:graphicFrameMk id="3" creationId="{9D7287F9-693D-471D-83C4-1D5FDD90E202}"/>
          </ac:graphicFrameMkLst>
        </pc:graphicFrameChg>
      </pc:sldChg>
      <pc:sldChg chg="addSp delSp modSp mod">
        <pc:chgData name="Aniket Chhabra" userId="598e0514-bef3-4e71-b6aa-f2edd6441cff" providerId="ADAL" clId="{1E0742E9-302E-4BA7-A441-657099638712}" dt="2021-03-30T01:12:57.852" v="5336"/>
        <pc:sldMkLst>
          <pc:docMk/>
          <pc:sldMk cId="4289157764" sldId="276"/>
        </pc:sldMkLst>
        <pc:spChg chg="mod">
          <ac:chgData name="Aniket Chhabra" userId="598e0514-bef3-4e71-b6aa-f2edd6441cff" providerId="ADAL" clId="{1E0742E9-302E-4BA7-A441-657099638712}" dt="2021-03-30T01:12:57.786" v="5297" actId="948"/>
          <ac:spMkLst>
            <pc:docMk/>
            <pc:sldMk cId="4289157764" sldId="276"/>
            <ac:spMk id="2" creationId="{8930873A-47BB-4799-A633-7CD6F940B805}"/>
          </ac:spMkLst>
        </pc:spChg>
        <pc:spChg chg="add del mod modVis">
          <ac:chgData name="Aniket Chhabra" userId="598e0514-bef3-4e71-b6aa-f2edd6441cff" providerId="ADAL" clId="{1E0742E9-302E-4BA7-A441-657099638712}" dt="2021-03-30T01:12:57.846" v="5334"/>
          <ac:spMkLst>
            <pc:docMk/>
            <pc:sldMk cId="4289157764" sldId="276"/>
            <ac:spMk id="3" creationId="{BD7FCE4B-7E7D-4596-B276-02A6C56B170C}"/>
          </ac:spMkLst>
        </pc:spChg>
        <pc:graphicFrameChg chg="mod">
          <ac:chgData name="Aniket Chhabra" userId="598e0514-bef3-4e71-b6aa-f2edd6441cff" providerId="ADAL" clId="{1E0742E9-302E-4BA7-A441-657099638712}" dt="2021-03-30T01:12:57.852" v="5336"/>
          <ac:graphicFrameMkLst>
            <pc:docMk/>
            <pc:sldMk cId="4289157764" sldId="276"/>
            <ac:graphicFrameMk id="4" creationId="{C03C504A-BBE8-4A28-B085-DEF232DB310E}"/>
          </ac:graphicFrameMkLst>
        </pc:graphicFrameChg>
      </pc:sldChg>
      <pc:sldChg chg="addSp delSp modSp mod ord">
        <pc:chgData name="Aniket Chhabra" userId="598e0514-bef3-4e71-b6aa-f2edd6441cff" providerId="ADAL" clId="{1E0742E9-302E-4BA7-A441-657099638712}" dt="2021-03-30T03:11:54.406" v="5523"/>
        <pc:sldMkLst>
          <pc:docMk/>
          <pc:sldMk cId="727025018" sldId="277"/>
        </pc:sldMkLst>
        <pc:spChg chg="add del mod modVis">
          <ac:chgData name="Aniket Chhabra" userId="598e0514-bef3-4e71-b6aa-f2edd6441cff" providerId="ADAL" clId="{1E0742E9-302E-4BA7-A441-657099638712}" dt="2021-03-30T01:13:00.075" v="5375"/>
          <ac:spMkLst>
            <pc:docMk/>
            <pc:sldMk cId="727025018" sldId="277"/>
            <ac:spMk id="2" creationId="{51529C8B-FA1A-444F-8CE6-E34B3D219034}"/>
          </ac:spMkLst>
        </pc:spChg>
        <pc:spChg chg="mod">
          <ac:chgData name="Aniket Chhabra" userId="598e0514-bef3-4e71-b6aa-f2edd6441cff" providerId="ADAL" clId="{1E0742E9-302E-4BA7-A441-657099638712}" dt="2021-03-30T01:13:00.031" v="5338" actId="948"/>
          <ac:spMkLst>
            <pc:docMk/>
            <pc:sldMk cId="727025018" sldId="277"/>
            <ac:spMk id="5" creationId="{E9E9AC6A-1002-4B6D-95E3-C291E82F57A4}"/>
          </ac:spMkLst>
        </pc:spChg>
        <pc:graphicFrameChg chg="add mod ord modVis">
          <ac:chgData name="Aniket Chhabra" userId="598e0514-bef3-4e71-b6aa-f2edd6441cff" providerId="ADAL" clId="{1E0742E9-302E-4BA7-A441-657099638712}" dt="2021-03-30T01:13:00.112" v="5390"/>
          <ac:graphicFrameMkLst>
            <pc:docMk/>
            <pc:sldMk cId="727025018" sldId="277"/>
            <ac:graphicFrameMk id="3" creationId="{71F9A21F-2315-43E1-8E89-198E09D84E47}"/>
          </ac:graphicFrameMkLst>
        </pc:graphicFrameChg>
        <pc:picChg chg="mod">
          <ac:chgData name="Aniket Chhabra" userId="598e0514-bef3-4e71-b6aa-f2edd6441cff" providerId="ADAL" clId="{1E0742E9-302E-4BA7-A441-657099638712}" dt="2021-03-28T00:40:11.649" v="3" actId="1076"/>
          <ac:picMkLst>
            <pc:docMk/>
            <pc:sldMk cId="727025018" sldId="277"/>
            <ac:picMk id="4" creationId="{EA06CFB7-547E-4721-9C34-FBCD25B94B3B}"/>
          </ac:picMkLst>
        </pc:picChg>
      </pc:sldChg>
      <pc:sldChg chg="addSp delSp modSp mod ord">
        <pc:chgData name="Aniket Chhabra" userId="598e0514-bef3-4e71-b6aa-f2edd6441cff" providerId="ADAL" clId="{1E0742E9-302E-4BA7-A441-657099638712}" dt="2021-03-30T03:12:02.301" v="5525"/>
        <pc:sldMkLst>
          <pc:docMk/>
          <pc:sldMk cId="3761000135" sldId="278"/>
        </pc:sldMkLst>
        <pc:spChg chg="add del mod modVis">
          <ac:chgData name="Aniket Chhabra" userId="598e0514-bef3-4e71-b6aa-f2edd6441cff" providerId="ADAL" clId="{1E0742E9-302E-4BA7-A441-657099638712}" dt="2021-03-28T01:44:07.801" v="1406"/>
          <ac:spMkLst>
            <pc:docMk/>
            <pc:sldMk cId="3761000135" sldId="278"/>
            <ac:spMk id="2" creationId="{51458DB5-A0D6-4759-9CEA-D16C15FDAB64}"/>
          </ac:spMkLst>
        </pc:spChg>
        <pc:spChg chg="add del mod modVis">
          <ac:chgData name="Aniket Chhabra" userId="598e0514-bef3-4e71-b6aa-f2edd6441cff" providerId="ADAL" clId="{1E0742E9-302E-4BA7-A441-657099638712}" dt="2021-03-30T01:13:05.672" v="5470"/>
          <ac:spMkLst>
            <pc:docMk/>
            <pc:sldMk cId="3761000135" sldId="278"/>
            <ac:spMk id="2" creationId="{86F4E929-5507-4D74-AA3B-7CF4FA452FD4}"/>
          </ac:spMkLst>
        </pc:spChg>
        <pc:spChg chg="mod">
          <ac:chgData name="Aniket Chhabra" userId="598e0514-bef3-4e71-b6aa-f2edd6441cff" providerId="ADAL" clId="{1E0742E9-302E-4BA7-A441-657099638712}" dt="2021-03-30T01:13:05.635" v="5433" actId="948"/>
          <ac:spMkLst>
            <pc:docMk/>
            <pc:sldMk cId="3761000135" sldId="278"/>
            <ac:spMk id="8" creationId="{CFFF491F-A0C8-4E04-BA65-41359695FF0A}"/>
          </ac:spMkLst>
        </pc:spChg>
        <pc:graphicFrameChg chg="add mod ord modVis">
          <ac:chgData name="Aniket Chhabra" userId="598e0514-bef3-4e71-b6aa-f2edd6441cff" providerId="ADAL" clId="{1E0742E9-302E-4BA7-A441-657099638712}" dt="2021-03-30T01:13:05.677" v="5472"/>
          <ac:graphicFrameMkLst>
            <pc:docMk/>
            <pc:sldMk cId="3761000135" sldId="278"/>
            <ac:graphicFrameMk id="3" creationId="{A63E1A11-C8C4-4F72-9CCD-09494558D324}"/>
          </ac:graphicFrameMkLst>
        </pc:graphicFrameChg>
      </pc:sldChg>
      <pc:sldChg chg="modSp add del">
        <pc:chgData name="Aniket Chhabra" userId="598e0514-bef3-4e71-b6aa-f2edd6441cff" providerId="ADAL" clId="{1E0742E9-302E-4BA7-A441-657099638712}" dt="2021-03-28T01:59:15.392" v="2707" actId="47"/>
        <pc:sldMkLst>
          <pc:docMk/>
          <pc:sldMk cId="3891235838" sldId="279"/>
        </pc:sldMkLst>
        <pc:spChg chg="mod">
          <ac:chgData name="Aniket Chhabra" userId="598e0514-bef3-4e71-b6aa-f2edd6441cff" providerId="ADAL" clId="{1E0742E9-302E-4BA7-A441-657099638712}" dt="2021-03-28T01:47:09.862" v="1989" actId="14100"/>
          <ac:spMkLst>
            <pc:docMk/>
            <pc:sldMk cId="3891235838" sldId="279"/>
            <ac:spMk id="5" creationId="{E1210E68-A4E2-4993-95EB-9780FD7AB0B0}"/>
          </ac:spMkLst>
        </pc:spChg>
        <pc:spChg chg="mod">
          <ac:chgData name="Aniket Chhabra" userId="598e0514-bef3-4e71-b6aa-f2edd6441cff" providerId="ADAL" clId="{1E0742E9-302E-4BA7-A441-657099638712}" dt="2021-03-28T01:46:58.925" v="1986" actId="1076"/>
          <ac:spMkLst>
            <pc:docMk/>
            <pc:sldMk cId="3891235838" sldId="279"/>
            <ac:spMk id="9" creationId="{AE033054-599B-4500-BF97-1F32748FD13F}"/>
          </ac:spMkLst>
        </pc:spChg>
        <pc:spChg chg="mod">
          <ac:chgData name="Aniket Chhabra" userId="598e0514-bef3-4e71-b6aa-f2edd6441cff" providerId="ADAL" clId="{1E0742E9-302E-4BA7-A441-657099638712}" dt="2021-03-28T01:47:04.786" v="1987" actId="1076"/>
          <ac:spMkLst>
            <pc:docMk/>
            <pc:sldMk cId="3891235838" sldId="279"/>
            <ac:spMk id="30" creationId="{37F724A9-3AA4-4877-AFD1-10E79A382BD4}"/>
          </ac:spMkLst>
        </pc:spChg>
        <pc:spChg chg="mod">
          <ac:chgData name="Aniket Chhabra" userId="598e0514-bef3-4e71-b6aa-f2edd6441cff" providerId="ADAL" clId="{1E0742E9-302E-4BA7-A441-657099638712}" dt="2021-03-28T01:47:04.786" v="1987" actId="1076"/>
          <ac:spMkLst>
            <pc:docMk/>
            <pc:sldMk cId="3891235838" sldId="279"/>
            <ac:spMk id="31" creationId="{6D303D4E-8F7C-4A94-B982-C7EFFB8C732D}"/>
          </ac:spMkLst>
        </pc:spChg>
        <pc:spChg chg="mod">
          <ac:chgData name="Aniket Chhabra" userId="598e0514-bef3-4e71-b6aa-f2edd6441cff" providerId="ADAL" clId="{1E0742E9-302E-4BA7-A441-657099638712}" dt="2021-03-28T01:47:04.786" v="1987" actId="1076"/>
          <ac:spMkLst>
            <pc:docMk/>
            <pc:sldMk cId="3891235838" sldId="279"/>
            <ac:spMk id="32" creationId="{D0D4CC37-7340-406E-95B1-BD10DC336DD0}"/>
          </ac:spMkLst>
        </pc:spChg>
        <pc:spChg chg="mod">
          <ac:chgData name="Aniket Chhabra" userId="598e0514-bef3-4e71-b6aa-f2edd6441cff" providerId="ADAL" clId="{1E0742E9-302E-4BA7-A441-657099638712}" dt="2021-03-28T01:47:04.786" v="1987" actId="1076"/>
          <ac:spMkLst>
            <pc:docMk/>
            <pc:sldMk cId="3891235838" sldId="279"/>
            <ac:spMk id="33" creationId="{1932FC3F-482F-455D-9E2A-5E3FDF59CBEA}"/>
          </ac:spMkLst>
        </pc:spChg>
      </pc:sldChg>
      <pc:sldChg chg="new add del">
        <pc:chgData name="Aniket Chhabra" userId="598e0514-bef3-4e71-b6aa-f2edd6441cff" providerId="ADAL" clId="{1E0742E9-302E-4BA7-A441-657099638712}" dt="2021-03-28T01:32:58.272" v="781" actId="47"/>
        <pc:sldMkLst>
          <pc:docMk/>
          <pc:sldMk cId="1607128757" sldId="280"/>
        </pc:sldMkLst>
      </pc:sldChg>
      <pc:sldChg chg="addSp delSp modSp add mod modNotesTx">
        <pc:chgData name="Aniket Chhabra" userId="598e0514-bef3-4e71-b6aa-f2edd6441cff" providerId="ADAL" clId="{1E0742E9-302E-4BA7-A441-657099638712}" dt="2021-03-30T01:13:02.680" v="5431"/>
        <pc:sldMkLst>
          <pc:docMk/>
          <pc:sldMk cId="43522479" sldId="281"/>
        </pc:sldMkLst>
        <pc:spChg chg="add del mod modVis">
          <ac:chgData name="Aniket Chhabra" userId="598e0514-bef3-4e71-b6aa-f2edd6441cff" providerId="ADAL" clId="{1E0742E9-302E-4BA7-A441-657099638712}" dt="2021-03-28T01:33:07.628" v="834"/>
          <ac:spMkLst>
            <pc:docMk/>
            <pc:sldMk cId="43522479" sldId="281"/>
            <ac:spMk id="2" creationId="{32752B0B-6353-4336-8A6B-92AEBDCFC5C8}"/>
          </ac:spMkLst>
        </pc:spChg>
        <pc:spChg chg="add del mod modVis">
          <ac:chgData name="Aniket Chhabra" userId="598e0514-bef3-4e71-b6aa-f2edd6441cff" providerId="ADAL" clId="{1E0742E9-302E-4BA7-A441-657099638712}" dt="2021-03-30T01:13:02.674" v="5429"/>
          <ac:spMkLst>
            <pc:docMk/>
            <pc:sldMk cId="43522479" sldId="281"/>
            <ac:spMk id="2" creationId="{A33D80C2-AA9E-497E-BD39-D0F566331913}"/>
          </ac:spMkLst>
        </pc:spChg>
        <pc:spChg chg="add del mod modVis">
          <ac:chgData name="Aniket Chhabra" userId="598e0514-bef3-4e71-b6aa-f2edd6441cff" providerId="ADAL" clId="{1E0742E9-302E-4BA7-A441-657099638712}" dt="2021-03-28T01:33:09.195" v="893"/>
          <ac:spMkLst>
            <pc:docMk/>
            <pc:sldMk cId="43522479" sldId="281"/>
            <ac:spMk id="4" creationId="{9874761C-C43B-4D9E-A5B8-98354E4F6B4A}"/>
          </ac:spMkLst>
        </pc:spChg>
        <pc:spChg chg="add del mod modVis">
          <ac:chgData name="Aniket Chhabra" userId="598e0514-bef3-4e71-b6aa-f2edd6441cff" providerId="ADAL" clId="{1E0742E9-302E-4BA7-A441-657099638712}" dt="2021-03-28T01:33:10.910" v="940"/>
          <ac:spMkLst>
            <pc:docMk/>
            <pc:sldMk cId="43522479" sldId="281"/>
            <ac:spMk id="5" creationId="{D36FE98F-29CE-4DD9-A080-D90A2ABB583F}"/>
          </ac:spMkLst>
        </pc:spChg>
        <pc:spChg chg="mod">
          <ac:chgData name="Aniket Chhabra" userId="598e0514-bef3-4e71-b6aa-f2edd6441cff" providerId="ADAL" clId="{1E0742E9-302E-4BA7-A441-657099638712}" dt="2021-03-30T01:13:02.634" v="5392" actId="948"/>
          <ac:spMkLst>
            <pc:docMk/>
            <pc:sldMk cId="43522479" sldId="281"/>
            <ac:spMk id="6" creationId="{88494800-514D-4B65-B6DD-AF40FBEE70D2}"/>
          </ac:spMkLst>
        </pc:spChg>
        <pc:spChg chg="add del mod modVis">
          <ac:chgData name="Aniket Chhabra" userId="598e0514-bef3-4e71-b6aa-f2edd6441cff" providerId="ADAL" clId="{1E0742E9-302E-4BA7-A441-657099638712}" dt="2021-03-28T01:33:12.194" v="986"/>
          <ac:spMkLst>
            <pc:docMk/>
            <pc:sldMk cId="43522479" sldId="281"/>
            <ac:spMk id="7" creationId="{04CE4185-0F85-41E8-976E-5FB275375898}"/>
          </ac:spMkLst>
        </pc:spChg>
        <pc:spChg chg="add del mod modVis">
          <ac:chgData name="Aniket Chhabra" userId="598e0514-bef3-4e71-b6aa-f2edd6441cff" providerId="ADAL" clId="{1E0742E9-302E-4BA7-A441-657099638712}" dt="2021-03-28T01:33:13.557" v="1030"/>
          <ac:spMkLst>
            <pc:docMk/>
            <pc:sldMk cId="43522479" sldId="281"/>
            <ac:spMk id="8" creationId="{806CF526-0A7C-43B9-BAAC-329DAFA80150}"/>
          </ac:spMkLst>
        </pc:spChg>
        <pc:spChg chg="add del mod modVis">
          <ac:chgData name="Aniket Chhabra" userId="598e0514-bef3-4e71-b6aa-f2edd6441cff" providerId="ADAL" clId="{1E0742E9-302E-4BA7-A441-657099638712}" dt="2021-03-28T01:33:16.688" v="1071"/>
          <ac:spMkLst>
            <pc:docMk/>
            <pc:sldMk cId="43522479" sldId="281"/>
            <ac:spMk id="12" creationId="{74B9F863-15AE-4F74-B2D2-19CB4B4A07C4}"/>
          </ac:spMkLst>
        </pc:spChg>
        <pc:spChg chg="del">
          <ac:chgData name="Aniket Chhabra" userId="598e0514-bef3-4e71-b6aa-f2edd6441cff" providerId="ADAL" clId="{1E0742E9-302E-4BA7-A441-657099638712}" dt="2021-03-28T01:33:19.187" v="1074" actId="478"/>
          <ac:spMkLst>
            <pc:docMk/>
            <pc:sldMk cId="43522479" sldId="281"/>
            <ac:spMk id="13" creationId="{4CB186CF-C4B2-4701-B1C1-9DBFCBA5F0D3}"/>
          </ac:spMkLst>
        </pc:spChg>
        <pc:spChg chg="del">
          <ac:chgData name="Aniket Chhabra" userId="598e0514-bef3-4e71-b6aa-f2edd6441cff" providerId="ADAL" clId="{1E0742E9-302E-4BA7-A441-657099638712}" dt="2021-03-28T01:33:19.187" v="1074" actId="478"/>
          <ac:spMkLst>
            <pc:docMk/>
            <pc:sldMk cId="43522479" sldId="281"/>
            <ac:spMk id="17" creationId="{F491F3A9-EECD-49AB-ACE5-413A93AEEEFB}"/>
          </ac:spMkLst>
        </pc:spChg>
        <pc:spChg chg="del">
          <ac:chgData name="Aniket Chhabra" userId="598e0514-bef3-4e71-b6aa-f2edd6441cff" providerId="ADAL" clId="{1E0742E9-302E-4BA7-A441-657099638712}" dt="2021-03-28T01:33:19.187" v="1074" actId="478"/>
          <ac:spMkLst>
            <pc:docMk/>
            <pc:sldMk cId="43522479" sldId="281"/>
            <ac:spMk id="22" creationId="{6396CEA7-A4AA-4A7A-9344-7C5E4041EC8C}"/>
          </ac:spMkLst>
        </pc:spChg>
        <pc:spChg chg="del">
          <ac:chgData name="Aniket Chhabra" userId="598e0514-bef3-4e71-b6aa-f2edd6441cff" providerId="ADAL" clId="{1E0742E9-302E-4BA7-A441-657099638712}" dt="2021-03-28T01:33:19.187" v="1074" actId="478"/>
          <ac:spMkLst>
            <pc:docMk/>
            <pc:sldMk cId="43522479" sldId="281"/>
            <ac:spMk id="26" creationId="{1A91FC3E-F5E0-447C-B369-A275F32ABE0C}"/>
          </ac:spMkLst>
        </pc:spChg>
        <pc:spChg chg="add del mod">
          <ac:chgData name="Aniket Chhabra" userId="598e0514-bef3-4e71-b6aa-f2edd6441cff" providerId="ADAL" clId="{1E0742E9-302E-4BA7-A441-657099638712}" dt="2021-03-28T01:39:45.857" v="1323"/>
          <ac:spMkLst>
            <pc:docMk/>
            <pc:sldMk cId="43522479" sldId="281"/>
            <ac:spMk id="32" creationId="{F1E53806-2AAD-4F2A-AD74-A0BDEBE24D29}"/>
          </ac:spMkLst>
        </pc:spChg>
        <pc:spChg chg="add del mod">
          <ac:chgData name="Aniket Chhabra" userId="598e0514-bef3-4e71-b6aa-f2edd6441cff" providerId="ADAL" clId="{1E0742E9-302E-4BA7-A441-657099638712}" dt="2021-03-28T01:39:45.857" v="1323"/>
          <ac:spMkLst>
            <pc:docMk/>
            <pc:sldMk cId="43522479" sldId="281"/>
            <ac:spMk id="33" creationId="{F8023708-D95F-4DD5-97FE-C363E5FDB122}"/>
          </ac:spMkLst>
        </pc:spChg>
        <pc:spChg chg="add del mod">
          <ac:chgData name="Aniket Chhabra" userId="598e0514-bef3-4e71-b6aa-f2edd6441cff" providerId="ADAL" clId="{1E0742E9-302E-4BA7-A441-657099638712}" dt="2021-03-28T01:39:45.857" v="1323"/>
          <ac:spMkLst>
            <pc:docMk/>
            <pc:sldMk cId="43522479" sldId="281"/>
            <ac:spMk id="35" creationId="{0E507345-FC80-4DEF-9548-111FC3C4D544}"/>
          </ac:spMkLst>
        </pc:spChg>
        <pc:spChg chg="del mod">
          <ac:chgData name="Aniket Chhabra" userId="598e0514-bef3-4e71-b6aa-f2edd6441cff" providerId="ADAL" clId="{1E0742E9-302E-4BA7-A441-657099638712}" dt="2021-03-28T01:39:49.919" v="1325" actId="478"/>
          <ac:spMkLst>
            <pc:docMk/>
            <pc:sldMk cId="43522479" sldId="281"/>
            <ac:spMk id="37" creationId="{03F1D95C-4484-4AE8-84B9-3682FABDAE5E}"/>
          </ac:spMkLst>
        </pc:spChg>
        <pc:spChg chg="add del mod">
          <ac:chgData name="Aniket Chhabra" userId="598e0514-bef3-4e71-b6aa-f2edd6441cff" providerId="ADAL" clId="{1E0742E9-302E-4BA7-A441-657099638712}" dt="2021-03-28T01:39:45.857" v="1323"/>
          <ac:spMkLst>
            <pc:docMk/>
            <pc:sldMk cId="43522479" sldId="281"/>
            <ac:spMk id="39" creationId="{E591F013-24FF-4FB5-A9D9-2E30392AF12F}"/>
          </ac:spMkLst>
        </pc:spChg>
        <pc:spChg chg="mod">
          <ac:chgData name="Aniket Chhabra" userId="598e0514-bef3-4e71-b6aa-f2edd6441cff" providerId="ADAL" clId="{1E0742E9-302E-4BA7-A441-657099638712}" dt="2021-03-28T01:38:59.992" v="1321" actId="20577"/>
          <ac:spMkLst>
            <pc:docMk/>
            <pc:sldMk cId="43522479" sldId="281"/>
            <ac:spMk id="40" creationId="{461A33E5-8ECD-47B4-BBAF-291F07E1AD52}"/>
          </ac:spMkLst>
        </pc:spChg>
        <pc:spChg chg="add del mod">
          <ac:chgData name="Aniket Chhabra" userId="598e0514-bef3-4e71-b6aa-f2edd6441cff" providerId="ADAL" clId="{1E0742E9-302E-4BA7-A441-657099638712}" dt="2021-03-28T01:39:45.857" v="1323"/>
          <ac:spMkLst>
            <pc:docMk/>
            <pc:sldMk cId="43522479" sldId="281"/>
            <ac:spMk id="41" creationId="{DB67F449-5B1B-49E6-A41F-946BE11B62BA}"/>
          </ac:spMkLst>
        </pc:spChg>
        <pc:spChg chg="add del mod">
          <ac:chgData name="Aniket Chhabra" userId="598e0514-bef3-4e71-b6aa-f2edd6441cff" providerId="ADAL" clId="{1E0742E9-302E-4BA7-A441-657099638712}" dt="2021-03-28T01:39:45.857" v="1323"/>
          <ac:spMkLst>
            <pc:docMk/>
            <pc:sldMk cId="43522479" sldId="281"/>
            <ac:spMk id="42" creationId="{7EAB4396-13E0-4F7F-9F1E-F8B6B439E0D7}"/>
          </ac:spMkLst>
        </pc:spChg>
        <pc:spChg chg="add del mod">
          <ac:chgData name="Aniket Chhabra" userId="598e0514-bef3-4e71-b6aa-f2edd6441cff" providerId="ADAL" clId="{1E0742E9-302E-4BA7-A441-657099638712}" dt="2021-03-28T01:39:45.857" v="1323"/>
          <ac:spMkLst>
            <pc:docMk/>
            <pc:sldMk cId="43522479" sldId="281"/>
            <ac:spMk id="43" creationId="{4357F4F7-D471-451A-903B-AFFA625B341B}"/>
          </ac:spMkLst>
        </pc:spChg>
        <pc:spChg chg="add del mod">
          <ac:chgData name="Aniket Chhabra" userId="598e0514-bef3-4e71-b6aa-f2edd6441cff" providerId="ADAL" clId="{1E0742E9-302E-4BA7-A441-657099638712}" dt="2021-03-28T01:39:45.857" v="1323"/>
          <ac:spMkLst>
            <pc:docMk/>
            <pc:sldMk cId="43522479" sldId="281"/>
            <ac:spMk id="44" creationId="{EF137F12-C6BA-4E60-8F5A-BF8B56BEA866}"/>
          </ac:spMkLst>
        </pc:spChg>
        <pc:spChg chg="add del mod">
          <ac:chgData name="Aniket Chhabra" userId="598e0514-bef3-4e71-b6aa-f2edd6441cff" providerId="ADAL" clId="{1E0742E9-302E-4BA7-A441-657099638712}" dt="2021-03-28T01:39:45.857" v="1323"/>
          <ac:spMkLst>
            <pc:docMk/>
            <pc:sldMk cId="43522479" sldId="281"/>
            <ac:spMk id="45" creationId="{17330F23-1784-48FF-AF19-BAD09CAA10E0}"/>
          </ac:spMkLst>
        </pc:spChg>
        <pc:spChg chg="add del mod">
          <ac:chgData name="Aniket Chhabra" userId="598e0514-bef3-4e71-b6aa-f2edd6441cff" providerId="ADAL" clId="{1E0742E9-302E-4BA7-A441-657099638712}" dt="2021-03-28T01:39:45.857" v="1323"/>
          <ac:spMkLst>
            <pc:docMk/>
            <pc:sldMk cId="43522479" sldId="281"/>
            <ac:spMk id="46" creationId="{3D953AE4-83B7-49C9-BB3F-11D7D33070F7}"/>
          </ac:spMkLst>
        </pc:spChg>
        <pc:spChg chg="add del mod">
          <ac:chgData name="Aniket Chhabra" userId="598e0514-bef3-4e71-b6aa-f2edd6441cff" providerId="ADAL" clId="{1E0742E9-302E-4BA7-A441-657099638712}" dt="2021-03-28T01:39:45.857" v="1323"/>
          <ac:spMkLst>
            <pc:docMk/>
            <pc:sldMk cId="43522479" sldId="281"/>
            <ac:spMk id="47" creationId="{AF8738A6-6D7C-4093-9979-73874CB628F0}"/>
          </ac:spMkLst>
        </pc:spChg>
        <pc:spChg chg="add del mod">
          <ac:chgData name="Aniket Chhabra" userId="598e0514-bef3-4e71-b6aa-f2edd6441cff" providerId="ADAL" clId="{1E0742E9-302E-4BA7-A441-657099638712}" dt="2021-03-28T01:39:45.857" v="1323"/>
          <ac:spMkLst>
            <pc:docMk/>
            <pc:sldMk cId="43522479" sldId="281"/>
            <ac:spMk id="48" creationId="{FA78B840-A220-4542-8645-F79D5563F0B8}"/>
          </ac:spMkLst>
        </pc:spChg>
        <pc:spChg chg="add mod">
          <ac:chgData name="Aniket Chhabra" userId="598e0514-bef3-4e71-b6aa-f2edd6441cff" providerId="ADAL" clId="{1E0742E9-302E-4BA7-A441-657099638712}" dt="2021-03-28T01:41:47.311" v="1361" actId="20577"/>
          <ac:spMkLst>
            <pc:docMk/>
            <pc:sldMk cId="43522479" sldId="281"/>
            <ac:spMk id="49" creationId="{2B4802BA-8279-4CA1-BB04-C0FFF4778686}"/>
          </ac:spMkLst>
        </pc:spChg>
        <pc:spChg chg="add mod">
          <ac:chgData name="Aniket Chhabra" userId="598e0514-bef3-4e71-b6aa-f2edd6441cff" providerId="ADAL" clId="{1E0742E9-302E-4BA7-A441-657099638712}" dt="2021-03-28T01:39:50.445" v="1326"/>
          <ac:spMkLst>
            <pc:docMk/>
            <pc:sldMk cId="43522479" sldId="281"/>
            <ac:spMk id="50" creationId="{5AFA7E13-607E-457F-AB35-FCE4D30E3D9A}"/>
          </ac:spMkLst>
        </pc:spChg>
        <pc:spChg chg="add mod">
          <ac:chgData name="Aniket Chhabra" userId="598e0514-bef3-4e71-b6aa-f2edd6441cff" providerId="ADAL" clId="{1E0742E9-302E-4BA7-A441-657099638712}" dt="2021-03-28T01:39:50.445" v="1326"/>
          <ac:spMkLst>
            <pc:docMk/>
            <pc:sldMk cId="43522479" sldId="281"/>
            <ac:spMk id="51" creationId="{B1BAB157-7E8F-4C2A-95F2-C082D260480C}"/>
          </ac:spMkLst>
        </pc:spChg>
        <pc:spChg chg="add mod">
          <ac:chgData name="Aniket Chhabra" userId="598e0514-bef3-4e71-b6aa-f2edd6441cff" providerId="ADAL" clId="{1E0742E9-302E-4BA7-A441-657099638712}" dt="2021-03-28T01:42:08.215" v="1366" actId="20577"/>
          <ac:spMkLst>
            <pc:docMk/>
            <pc:sldMk cId="43522479" sldId="281"/>
            <ac:spMk id="52" creationId="{8714C162-05FD-4F07-AA42-6955F8B93E20}"/>
          </ac:spMkLst>
        </pc:spChg>
        <pc:spChg chg="add mod">
          <ac:chgData name="Aniket Chhabra" userId="598e0514-bef3-4e71-b6aa-f2edd6441cff" providerId="ADAL" clId="{1E0742E9-302E-4BA7-A441-657099638712}" dt="2021-03-28T01:39:50.445" v="1326"/>
          <ac:spMkLst>
            <pc:docMk/>
            <pc:sldMk cId="43522479" sldId="281"/>
            <ac:spMk id="53" creationId="{83140F56-5E25-4E5E-9BBF-12A94B70A90F}"/>
          </ac:spMkLst>
        </pc:spChg>
        <pc:spChg chg="add mod">
          <ac:chgData name="Aniket Chhabra" userId="598e0514-bef3-4e71-b6aa-f2edd6441cff" providerId="ADAL" clId="{1E0742E9-302E-4BA7-A441-657099638712}" dt="2021-03-28T01:40:50.300" v="1336" actId="20577"/>
          <ac:spMkLst>
            <pc:docMk/>
            <pc:sldMk cId="43522479" sldId="281"/>
            <ac:spMk id="54" creationId="{A2D879CA-786A-4220-B53D-9C504C3330E7}"/>
          </ac:spMkLst>
        </pc:spChg>
        <pc:spChg chg="add mod">
          <ac:chgData name="Aniket Chhabra" userId="598e0514-bef3-4e71-b6aa-f2edd6441cff" providerId="ADAL" clId="{1E0742E9-302E-4BA7-A441-657099638712}" dt="2021-03-28T01:39:50.445" v="1326"/>
          <ac:spMkLst>
            <pc:docMk/>
            <pc:sldMk cId="43522479" sldId="281"/>
            <ac:spMk id="55" creationId="{69D4BC61-DC9D-4685-9124-E409C1D0C8CD}"/>
          </ac:spMkLst>
        </pc:spChg>
        <pc:spChg chg="add mod">
          <ac:chgData name="Aniket Chhabra" userId="598e0514-bef3-4e71-b6aa-f2edd6441cff" providerId="ADAL" clId="{1E0742E9-302E-4BA7-A441-657099638712}" dt="2021-03-28T01:39:50.445" v="1326"/>
          <ac:spMkLst>
            <pc:docMk/>
            <pc:sldMk cId="43522479" sldId="281"/>
            <ac:spMk id="56" creationId="{8C460A9B-EBF8-498A-904D-08741ABBDFF9}"/>
          </ac:spMkLst>
        </pc:spChg>
        <pc:spChg chg="add mod">
          <ac:chgData name="Aniket Chhabra" userId="598e0514-bef3-4e71-b6aa-f2edd6441cff" providerId="ADAL" clId="{1E0742E9-302E-4BA7-A441-657099638712}" dt="2021-03-28T01:39:50.445" v="1326"/>
          <ac:spMkLst>
            <pc:docMk/>
            <pc:sldMk cId="43522479" sldId="281"/>
            <ac:spMk id="57" creationId="{7FA02F8B-70E4-46BA-9B3E-C1B32A391294}"/>
          </ac:spMkLst>
        </pc:spChg>
        <pc:spChg chg="add mod">
          <ac:chgData name="Aniket Chhabra" userId="598e0514-bef3-4e71-b6aa-f2edd6441cff" providerId="ADAL" clId="{1E0742E9-302E-4BA7-A441-657099638712}" dt="2021-03-28T01:40:41.568" v="1335" actId="20577"/>
          <ac:spMkLst>
            <pc:docMk/>
            <pc:sldMk cId="43522479" sldId="281"/>
            <ac:spMk id="58" creationId="{4496B46A-2283-48F0-BA30-7EB06639159B}"/>
          </ac:spMkLst>
        </pc:spChg>
        <pc:spChg chg="add mod">
          <ac:chgData name="Aniket Chhabra" userId="598e0514-bef3-4e71-b6aa-f2edd6441cff" providerId="ADAL" clId="{1E0742E9-302E-4BA7-A441-657099638712}" dt="2021-03-28T01:39:50.445" v="1326"/>
          <ac:spMkLst>
            <pc:docMk/>
            <pc:sldMk cId="43522479" sldId="281"/>
            <ac:spMk id="59" creationId="{56FFC1E1-3815-4B15-BF53-4129BF2AE9AC}"/>
          </ac:spMkLst>
        </pc:spChg>
        <pc:spChg chg="add mod">
          <ac:chgData name="Aniket Chhabra" userId="598e0514-bef3-4e71-b6aa-f2edd6441cff" providerId="ADAL" clId="{1E0742E9-302E-4BA7-A441-657099638712}" dt="2021-03-28T01:39:50.445" v="1326"/>
          <ac:spMkLst>
            <pc:docMk/>
            <pc:sldMk cId="43522479" sldId="281"/>
            <ac:spMk id="60" creationId="{EB9C07EF-F100-4EE3-A138-8E523AEF55F9}"/>
          </ac:spMkLst>
        </pc:spChg>
        <pc:grpChg chg="del">
          <ac:chgData name="Aniket Chhabra" userId="598e0514-bef3-4e71-b6aa-f2edd6441cff" providerId="ADAL" clId="{1E0742E9-302E-4BA7-A441-657099638712}" dt="2021-03-28T01:33:19.187" v="1074" actId="478"/>
          <ac:grpSpMkLst>
            <pc:docMk/>
            <pc:sldMk cId="43522479" sldId="281"/>
            <ac:grpSpMk id="9" creationId="{91EB64F8-D2BC-4B16-80A3-B15D6536C5F4}"/>
          </ac:grpSpMkLst>
        </pc:grpChg>
        <pc:grpChg chg="del">
          <ac:chgData name="Aniket Chhabra" userId="598e0514-bef3-4e71-b6aa-f2edd6441cff" providerId="ADAL" clId="{1E0742E9-302E-4BA7-A441-657099638712}" dt="2021-03-28T01:33:19.187" v="1074" actId="478"/>
          <ac:grpSpMkLst>
            <pc:docMk/>
            <pc:sldMk cId="43522479" sldId="281"/>
            <ac:grpSpMk id="18" creationId="{82E026E8-31E8-4B45-8CC8-534FE71C3826}"/>
          </ac:grpSpMkLst>
        </pc:grpChg>
        <pc:grpChg chg="del">
          <ac:chgData name="Aniket Chhabra" userId="598e0514-bef3-4e71-b6aa-f2edd6441cff" providerId="ADAL" clId="{1E0742E9-302E-4BA7-A441-657099638712}" dt="2021-03-28T01:39:47.676" v="1324" actId="478"/>
          <ac:grpSpMkLst>
            <pc:docMk/>
            <pc:sldMk cId="43522479" sldId="281"/>
            <ac:grpSpMk id="29" creationId="{E3E80C3E-2403-473C-87F3-886C1C3D7D70}"/>
          </ac:grpSpMkLst>
        </pc:grpChg>
        <pc:grpChg chg="del">
          <ac:chgData name="Aniket Chhabra" userId="598e0514-bef3-4e71-b6aa-f2edd6441cff" providerId="ADAL" clId="{1E0742E9-302E-4BA7-A441-657099638712}" dt="2021-03-28T01:39:47.676" v="1324" actId="478"/>
          <ac:grpSpMkLst>
            <pc:docMk/>
            <pc:sldMk cId="43522479" sldId="281"/>
            <ac:grpSpMk id="38" creationId="{EF87F8CF-B294-4B23-B7C8-1A23448760C1}"/>
          </ac:grpSpMkLst>
        </pc:grpChg>
        <pc:graphicFrameChg chg="add mod ord modVis">
          <ac:chgData name="Aniket Chhabra" userId="598e0514-bef3-4e71-b6aa-f2edd6441cff" providerId="ADAL" clId="{1E0742E9-302E-4BA7-A441-657099638712}" dt="2021-03-30T01:13:02.680" v="5431"/>
          <ac:graphicFrameMkLst>
            <pc:docMk/>
            <pc:sldMk cId="43522479" sldId="281"/>
            <ac:graphicFrameMk id="3" creationId="{0AD5417B-A031-472B-98E5-A3205D951DB0}"/>
          </ac:graphicFrameMkLst>
        </pc:graphicFrameChg>
        <pc:picChg chg="del">
          <ac:chgData name="Aniket Chhabra" userId="598e0514-bef3-4e71-b6aa-f2edd6441cff" providerId="ADAL" clId="{1E0742E9-302E-4BA7-A441-657099638712}" dt="2021-03-28T01:33:19.187" v="1074" actId="478"/>
          <ac:picMkLst>
            <pc:docMk/>
            <pc:sldMk cId="43522479" sldId="281"/>
            <ac:picMk id="15" creationId="{63402CC7-62B7-4989-A831-15F5E1EBB063}"/>
          </ac:picMkLst>
        </pc:picChg>
        <pc:picChg chg="del">
          <ac:chgData name="Aniket Chhabra" userId="598e0514-bef3-4e71-b6aa-f2edd6441cff" providerId="ADAL" clId="{1E0742E9-302E-4BA7-A441-657099638712}" dt="2021-03-28T01:33:19.187" v="1074" actId="478"/>
          <ac:picMkLst>
            <pc:docMk/>
            <pc:sldMk cId="43522479" sldId="281"/>
            <ac:picMk id="24" creationId="{C32EE874-00F3-4766-86FA-3C958D59AAAD}"/>
          </ac:picMkLst>
        </pc:picChg>
        <pc:picChg chg="del">
          <ac:chgData name="Aniket Chhabra" userId="598e0514-bef3-4e71-b6aa-f2edd6441cff" providerId="ADAL" clId="{1E0742E9-302E-4BA7-A441-657099638712}" dt="2021-03-28T01:33:19.187" v="1074" actId="478"/>
          <ac:picMkLst>
            <pc:docMk/>
            <pc:sldMk cId="43522479" sldId="281"/>
            <ac:picMk id="28" creationId="{30C2FB5D-D532-4564-A94A-3D37B612917C}"/>
          </ac:picMkLst>
        </pc:picChg>
      </pc:sldChg>
      <pc:sldChg chg="addSp delSp modSp new add del mod">
        <pc:chgData name="Aniket Chhabra" userId="598e0514-bef3-4e71-b6aa-f2edd6441cff" providerId="ADAL" clId="{1E0742E9-302E-4BA7-A441-657099638712}" dt="2021-03-28T01:44:19.557" v="1522" actId="47"/>
        <pc:sldMkLst>
          <pc:docMk/>
          <pc:sldMk cId="1242215326" sldId="282"/>
        </pc:sldMkLst>
        <pc:spChg chg="mod">
          <ac:chgData name="Aniket Chhabra" userId="598e0514-bef3-4e71-b6aa-f2edd6441cff" providerId="ADAL" clId="{1E0742E9-302E-4BA7-A441-657099638712}" dt="2021-03-28T01:44:18.510" v="1521" actId="14100"/>
          <ac:spMkLst>
            <pc:docMk/>
            <pc:sldMk cId="1242215326" sldId="282"/>
            <ac:spMk id="2" creationId="{D05DB81B-90EA-4C7B-AF74-5B35A3526096}"/>
          </ac:spMkLst>
        </pc:spChg>
        <pc:spChg chg="add del mod modVis">
          <ac:chgData name="Aniket Chhabra" userId="598e0514-bef3-4e71-b6aa-f2edd6441cff" providerId="ADAL" clId="{1E0742E9-302E-4BA7-A441-657099638712}" dt="2021-03-28T01:44:17.210" v="1518" actId="962"/>
          <ac:spMkLst>
            <pc:docMk/>
            <pc:sldMk cId="1242215326" sldId="282"/>
            <ac:spMk id="4" creationId="{91DDBEDA-591C-41FB-9FD5-B018A27C3DE6}"/>
          </ac:spMkLst>
        </pc:spChg>
        <pc:graphicFrameChg chg="add mod ord modVis">
          <ac:chgData name="Aniket Chhabra" userId="598e0514-bef3-4e71-b6aa-f2edd6441cff" providerId="ADAL" clId="{1E0742E9-302E-4BA7-A441-657099638712}" dt="2021-03-28T01:44:17.196" v="1484" actId="14100"/>
          <ac:graphicFrameMkLst>
            <pc:docMk/>
            <pc:sldMk cId="1242215326" sldId="282"/>
            <ac:graphicFrameMk id="5" creationId="{69200529-D82D-4B1B-A41E-C7195266BFF9}"/>
          </ac:graphicFrameMkLst>
        </pc:graphicFrameChg>
      </pc:sldChg>
      <pc:sldChg chg="addSp delSp modSp add mod">
        <pc:chgData name="Aniket Chhabra" userId="598e0514-bef3-4e71-b6aa-f2edd6441cff" providerId="ADAL" clId="{1E0742E9-302E-4BA7-A441-657099638712}" dt="2021-03-30T01:13:08.817" v="5513"/>
        <pc:sldMkLst>
          <pc:docMk/>
          <pc:sldMk cId="3628606818" sldId="282"/>
        </pc:sldMkLst>
        <pc:spChg chg="add del mod modVis">
          <ac:chgData name="Aniket Chhabra" userId="598e0514-bef3-4e71-b6aa-f2edd6441cff" providerId="ADAL" clId="{1E0742E9-302E-4BA7-A441-657099638712}" dt="2021-03-28T01:44:24.112" v="1599" actId="962"/>
          <ac:spMkLst>
            <pc:docMk/>
            <pc:sldMk cId="3628606818" sldId="282"/>
            <ac:spMk id="2" creationId="{A8B0B044-86BE-4210-8D96-C7443056C658}"/>
          </ac:spMkLst>
        </pc:spChg>
        <pc:spChg chg="add del mod modVis">
          <ac:chgData name="Aniket Chhabra" userId="598e0514-bef3-4e71-b6aa-f2edd6441cff" providerId="ADAL" clId="{1E0742E9-302E-4BA7-A441-657099638712}" dt="2021-03-30T01:13:08.811" v="5511"/>
          <ac:spMkLst>
            <pc:docMk/>
            <pc:sldMk cId="3628606818" sldId="282"/>
            <ac:spMk id="4" creationId="{302F12D0-0D35-4DEA-A1EF-8BAFC9770E88}"/>
          </ac:spMkLst>
        </pc:spChg>
        <pc:spChg chg="add del mod modVis">
          <ac:chgData name="Aniket Chhabra" userId="598e0514-bef3-4e71-b6aa-f2edd6441cff" providerId="ADAL" clId="{1E0742E9-302E-4BA7-A441-657099638712}" dt="2021-03-28T01:44:34.959" v="1688"/>
          <ac:spMkLst>
            <pc:docMk/>
            <pc:sldMk cId="3628606818" sldId="282"/>
            <ac:spMk id="4" creationId="{B16EB226-1F76-400C-BA2F-DB999658D240}"/>
          </ac:spMkLst>
        </pc:spChg>
        <pc:spChg chg="del mod">
          <ac:chgData name="Aniket Chhabra" userId="598e0514-bef3-4e71-b6aa-f2edd6441cff" providerId="ADAL" clId="{1E0742E9-302E-4BA7-A441-657099638712}" dt="2021-03-28T01:44:49.553" v="1978"/>
          <ac:spMkLst>
            <pc:docMk/>
            <pc:sldMk cId="3628606818" sldId="282"/>
            <ac:spMk id="5" creationId="{D5C74B2D-7E87-4B70-91FD-F8B8E12E34F6}"/>
          </ac:spMkLst>
        </pc:spChg>
        <pc:spChg chg="add mod">
          <ac:chgData name="Aniket Chhabra" userId="598e0514-bef3-4e71-b6aa-f2edd6441cff" providerId="ADAL" clId="{1E0742E9-302E-4BA7-A441-657099638712}" dt="2021-03-30T00:51:49.297" v="3869" actId="20577"/>
          <ac:spMkLst>
            <pc:docMk/>
            <pc:sldMk cId="3628606818" sldId="282"/>
            <ac:spMk id="5" creationId="{EB00EC8B-D9ED-43A8-AFAF-B4E5092738AF}"/>
          </ac:spMkLst>
        </pc:spChg>
        <pc:spChg chg="add del mod modVis">
          <ac:chgData name="Aniket Chhabra" userId="598e0514-bef3-4e71-b6aa-f2edd6441cff" providerId="ADAL" clId="{1E0742E9-302E-4BA7-A441-657099638712}" dt="2021-03-28T01:44:37.483" v="1738"/>
          <ac:spMkLst>
            <pc:docMk/>
            <pc:sldMk cId="3628606818" sldId="282"/>
            <ac:spMk id="6" creationId="{D803D180-0EAC-4099-AB16-670E163870B8}"/>
          </ac:spMkLst>
        </pc:spChg>
        <pc:spChg chg="add del mod modVis">
          <ac:chgData name="Aniket Chhabra" userId="598e0514-bef3-4e71-b6aa-f2edd6441cff" providerId="ADAL" clId="{1E0742E9-302E-4BA7-A441-657099638712}" dt="2021-03-28T01:44:38.182" v="1779"/>
          <ac:spMkLst>
            <pc:docMk/>
            <pc:sldMk cId="3628606818" sldId="282"/>
            <ac:spMk id="7" creationId="{753E2B4F-3481-45B2-845A-86068EEF53EC}"/>
          </ac:spMkLst>
        </pc:spChg>
        <pc:spChg chg="mod">
          <ac:chgData name="Aniket Chhabra" userId="598e0514-bef3-4e71-b6aa-f2edd6441cff" providerId="ADAL" clId="{1E0742E9-302E-4BA7-A441-657099638712}" dt="2021-03-30T01:13:08.770" v="5474" actId="948"/>
          <ac:spMkLst>
            <pc:docMk/>
            <pc:sldMk cId="3628606818" sldId="282"/>
            <ac:spMk id="8" creationId="{CFFF491F-A0C8-4E04-BA65-41359695FF0A}"/>
          </ac:spMkLst>
        </pc:spChg>
        <pc:spChg chg="add del mod modVis">
          <ac:chgData name="Aniket Chhabra" userId="598e0514-bef3-4e71-b6aa-f2edd6441cff" providerId="ADAL" clId="{1E0742E9-302E-4BA7-A441-657099638712}" dt="2021-03-28T01:44:39.155" v="1824"/>
          <ac:spMkLst>
            <pc:docMk/>
            <pc:sldMk cId="3628606818" sldId="282"/>
            <ac:spMk id="9" creationId="{AB838E68-CBD6-4626-AC84-43FA2DA13A34}"/>
          </ac:spMkLst>
        </pc:spChg>
        <pc:spChg chg="add del mod modVis">
          <ac:chgData name="Aniket Chhabra" userId="598e0514-bef3-4e71-b6aa-f2edd6441cff" providerId="ADAL" clId="{1E0742E9-302E-4BA7-A441-657099638712}" dt="2021-03-28T01:44:42.434" v="1885"/>
          <ac:spMkLst>
            <pc:docMk/>
            <pc:sldMk cId="3628606818" sldId="282"/>
            <ac:spMk id="10" creationId="{DF7463AF-0FD0-4208-8A62-FF1845253219}"/>
          </ac:spMkLst>
        </pc:spChg>
        <pc:spChg chg="add del mod modVis">
          <ac:chgData name="Aniket Chhabra" userId="598e0514-bef3-4e71-b6aa-f2edd6441cff" providerId="ADAL" clId="{1E0742E9-302E-4BA7-A441-657099638712}" dt="2021-03-28T01:44:43.029" v="1926"/>
          <ac:spMkLst>
            <pc:docMk/>
            <pc:sldMk cId="3628606818" sldId="282"/>
            <ac:spMk id="11" creationId="{C5CF7213-3C63-4F4C-B5A7-6E2E69429893}"/>
          </ac:spMkLst>
        </pc:spChg>
        <pc:spChg chg="add del mod modVis">
          <ac:chgData name="Aniket Chhabra" userId="598e0514-bef3-4e71-b6aa-f2edd6441cff" providerId="ADAL" clId="{1E0742E9-302E-4BA7-A441-657099638712}" dt="2021-03-28T01:44:44.536" v="1973"/>
          <ac:spMkLst>
            <pc:docMk/>
            <pc:sldMk cId="3628606818" sldId="282"/>
            <ac:spMk id="12" creationId="{5B41FE37-6ADB-40E6-A909-8807AD45B5A0}"/>
          </ac:spMkLst>
        </pc:spChg>
        <pc:graphicFrameChg chg="mod">
          <ac:chgData name="Aniket Chhabra" userId="598e0514-bef3-4e71-b6aa-f2edd6441cff" providerId="ADAL" clId="{1E0742E9-302E-4BA7-A441-657099638712}" dt="2021-03-30T01:13:08.817" v="5513"/>
          <ac:graphicFrameMkLst>
            <pc:docMk/>
            <pc:sldMk cId="3628606818" sldId="282"/>
            <ac:graphicFrameMk id="3" creationId="{A63E1A11-C8C4-4F72-9CCD-09494558D324}"/>
          </ac:graphicFrameMkLst>
        </pc:graphicFrameChg>
      </pc:sldChg>
      <pc:sldChg chg="addSp delSp modSp new add mod">
        <pc:chgData name="Aniket Chhabra" userId="598e0514-bef3-4e71-b6aa-f2edd6441cff" providerId="ADAL" clId="{1E0742E9-302E-4BA7-A441-657099638712}" dt="2021-03-30T01:12:35.935" v="5238" actId="108"/>
        <pc:sldMkLst>
          <pc:docMk/>
          <pc:sldMk cId="3821036019" sldId="283"/>
        </pc:sldMkLst>
        <pc:spChg chg="del">
          <ac:chgData name="Aniket Chhabra" userId="598e0514-bef3-4e71-b6aa-f2edd6441cff" providerId="ADAL" clId="{1E0742E9-302E-4BA7-A441-657099638712}" dt="2021-03-28T01:47:15.288" v="1992" actId="478"/>
          <ac:spMkLst>
            <pc:docMk/>
            <pc:sldMk cId="3821036019" sldId="283"/>
            <ac:spMk id="2" creationId="{46D602A6-703B-491C-B657-75A8D9B6DA17}"/>
          </ac:spMkLst>
        </pc:spChg>
        <pc:spChg chg="del">
          <ac:chgData name="Aniket Chhabra" userId="598e0514-bef3-4e71-b6aa-f2edd6441cff" providerId="ADAL" clId="{1E0742E9-302E-4BA7-A441-657099638712}" dt="2021-03-28T01:47:15.288" v="1992" actId="478"/>
          <ac:spMkLst>
            <pc:docMk/>
            <pc:sldMk cId="3821036019" sldId="283"/>
            <ac:spMk id="3" creationId="{2E270DCC-FF8A-4B50-B883-92EE7549D97B}"/>
          </ac:spMkLst>
        </pc:spChg>
        <pc:spChg chg="add mod">
          <ac:chgData name="Aniket Chhabra" userId="598e0514-bef3-4e71-b6aa-f2edd6441cff" providerId="ADAL" clId="{1E0742E9-302E-4BA7-A441-657099638712}" dt="2021-03-28T01:55:53.578" v="2503" actId="404"/>
          <ac:spMkLst>
            <pc:docMk/>
            <pc:sldMk cId="3821036019" sldId="283"/>
            <ac:spMk id="5" creationId="{64CB73DA-CF92-4DA3-AE37-487E180DAA54}"/>
          </ac:spMkLst>
        </pc:spChg>
        <pc:spChg chg="add del">
          <ac:chgData name="Aniket Chhabra" userId="598e0514-bef3-4e71-b6aa-f2edd6441cff" providerId="ADAL" clId="{1E0742E9-302E-4BA7-A441-657099638712}" dt="2021-03-28T01:48:00.818" v="2015" actId="22"/>
          <ac:spMkLst>
            <pc:docMk/>
            <pc:sldMk cId="3821036019" sldId="283"/>
            <ac:spMk id="7" creationId="{AA267C82-5D35-4BFA-A357-758352EDEAEB}"/>
          </ac:spMkLst>
        </pc:spChg>
        <pc:spChg chg="add mod">
          <ac:chgData name="Aniket Chhabra" userId="598e0514-bef3-4e71-b6aa-f2edd6441cff" providerId="ADAL" clId="{1E0742E9-302E-4BA7-A441-657099638712}" dt="2021-03-30T01:12:35.935" v="5238" actId="108"/>
          <ac:spMkLst>
            <pc:docMk/>
            <pc:sldMk cId="3821036019" sldId="283"/>
            <ac:spMk id="8" creationId="{777BE039-B209-4E46-991D-ECC2BF4D8AF3}"/>
          </ac:spMkLst>
        </pc:spChg>
        <pc:spChg chg="add del mod">
          <ac:chgData name="Aniket Chhabra" userId="598e0514-bef3-4e71-b6aa-f2edd6441cff" providerId="ADAL" clId="{1E0742E9-302E-4BA7-A441-657099638712}" dt="2021-03-28T01:48:44.201" v="2047" actId="478"/>
          <ac:spMkLst>
            <pc:docMk/>
            <pc:sldMk cId="3821036019" sldId="283"/>
            <ac:spMk id="9" creationId="{E4A15768-F740-47CE-9667-44B495FFBC42}"/>
          </ac:spMkLst>
        </pc:spChg>
        <pc:spChg chg="add mod">
          <ac:chgData name="Aniket Chhabra" userId="598e0514-bef3-4e71-b6aa-f2edd6441cff" providerId="ADAL" clId="{1E0742E9-302E-4BA7-A441-657099638712}" dt="2021-03-28T01:55:08.668" v="2486" actId="1076"/>
          <ac:spMkLst>
            <pc:docMk/>
            <pc:sldMk cId="3821036019" sldId="283"/>
            <ac:spMk id="10" creationId="{B8A793FC-0B2E-4D9A-804E-21AF26FEC2B9}"/>
          </ac:spMkLst>
        </pc:spChg>
        <pc:spChg chg="add mod">
          <ac:chgData name="Aniket Chhabra" userId="598e0514-bef3-4e71-b6aa-f2edd6441cff" providerId="ADAL" clId="{1E0742E9-302E-4BA7-A441-657099638712}" dt="2021-03-28T01:55:51.590" v="2502" actId="404"/>
          <ac:spMkLst>
            <pc:docMk/>
            <pc:sldMk cId="3821036019" sldId="283"/>
            <ac:spMk id="11" creationId="{C34FD9F9-D0BE-46BA-83C1-DF761C4C2AF5}"/>
          </ac:spMkLst>
        </pc:spChg>
        <pc:spChg chg="add del mod">
          <ac:chgData name="Aniket Chhabra" userId="598e0514-bef3-4e71-b6aa-f2edd6441cff" providerId="ADAL" clId="{1E0742E9-302E-4BA7-A441-657099638712}" dt="2021-03-28T01:55:12.976" v="2488" actId="478"/>
          <ac:spMkLst>
            <pc:docMk/>
            <pc:sldMk cId="3821036019" sldId="283"/>
            <ac:spMk id="12" creationId="{3D138177-E1CC-43A8-B234-948F5E4BCFFE}"/>
          </ac:spMkLst>
        </pc:spChg>
        <pc:spChg chg="add del">
          <ac:chgData name="Aniket Chhabra" userId="598e0514-bef3-4e71-b6aa-f2edd6441cff" providerId="ADAL" clId="{1E0742E9-302E-4BA7-A441-657099638712}" dt="2021-03-28T01:49:17.321" v="2057" actId="478"/>
          <ac:spMkLst>
            <pc:docMk/>
            <pc:sldMk cId="3821036019" sldId="283"/>
            <ac:spMk id="13" creationId="{FE65398F-F327-44EF-8517-8B15288684CD}"/>
          </ac:spMkLst>
        </pc:spChg>
        <pc:spChg chg="add del">
          <ac:chgData name="Aniket Chhabra" userId="598e0514-bef3-4e71-b6aa-f2edd6441cff" providerId="ADAL" clId="{1E0742E9-302E-4BA7-A441-657099638712}" dt="2021-03-28T01:51:46.230" v="2243" actId="478"/>
          <ac:spMkLst>
            <pc:docMk/>
            <pc:sldMk cId="3821036019" sldId="283"/>
            <ac:spMk id="14" creationId="{99970772-7916-4FB1-ABEE-91BDDB1885B1}"/>
          </ac:spMkLst>
        </pc:spChg>
        <pc:spChg chg="add mod">
          <ac:chgData name="Aniket Chhabra" userId="598e0514-bef3-4e71-b6aa-f2edd6441cff" providerId="ADAL" clId="{1E0742E9-302E-4BA7-A441-657099638712}" dt="2021-03-28T01:55:19.354" v="2491" actId="1076"/>
          <ac:spMkLst>
            <pc:docMk/>
            <pc:sldMk cId="3821036019" sldId="283"/>
            <ac:spMk id="15" creationId="{5AEE2DA9-6182-45A3-AB0C-EA4984BE1A43}"/>
          </ac:spMkLst>
        </pc:spChg>
        <pc:spChg chg="add mod">
          <ac:chgData name="Aniket Chhabra" userId="598e0514-bef3-4e71-b6aa-f2edd6441cff" providerId="ADAL" clId="{1E0742E9-302E-4BA7-A441-657099638712}" dt="2021-03-28T01:56:12.290" v="2510" actId="1035"/>
          <ac:spMkLst>
            <pc:docMk/>
            <pc:sldMk cId="3821036019" sldId="283"/>
            <ac:spMk id="16" creationId="{75C6B953-063F-44B9-AF65-CBD84A305871}"/>
          </ac:spMkLst>
        </pc:spChg>
        <pc:spChg chg="add del mod">
          <ac:chgData name="Aniket Chhabra" userId="598e0514-bef3-4e71-b6aa-f2edd6441cff" providerId="ADAL" clId="{1E0742E9-302E-4BA7-A441-657099638712}" dt="2021-03-28T01:55:14.470" v="2489" actId="478"/>
          <ac:spMkLst>
            <pc:docMk/>
            <pc:sldMk cId="3821036019" sldId="283"/>
            <ac:spMk id="17" creationId="{1CCAFBC2-DF48-45CF-9AC1-22FDB478D3D7}"/>
          </ac:spMkLst>
        </pc:spChg>
        <pc:spChg chg="add mod">
          <ac:chgData name="Aniket Chhabra" userId="598e0514-bef3-4e71-b6aa-f2edd6441cff" providerId="ADAL" clId="{1E0742E9-302E-4BA7-A441-657099638712}" dt="2021-03-28T01:55:37.246" v="2497" actId="1076"/>
          <ac:spMkLst>
            <pc:docMk/>
            <pc:sldMk cId="3821036019" sldId="283"/>
            <ac:spMk id="18" creationId="{735CE6BB-2E04-4376-B838-25661BE8D43A}"/>
          </ac:spMkLst>
        </pc:spChg>
        <pc:spChg chg="add mod">
          <ac:chgData name="Aniket Chhabra" userId="598e0514-bef3-4e71-b6aa-f2edd6441cff" providerId="ADAL" clId="{1E0742E9-302E-4BA7-A441-657099638712}" dt="2021-03-28T01:56:18.213" v="2520" actId="1035"/>
          <ac:spMkLst>
            <pc:docMk/>
            <pc:sldMk cId="3821036019" sldId="283"/>
            <ac:spMk id="19" creationId="{5EA49EA2-A3BC-40AE-A80A-0E89956F82E4}"/>
          </ac:spMkLst>
        </pc:spChg>
        <pc:spChg chg="add del mod">
          <ac:chgData name="Aniket Chhabra" userId="598e0514-bef3-4e71-b6aa-f2edd6441cff" providerId="ADAL" clId="{1E0742E9-302E-4BA7-A441-657099638712}" dt="2021-03-28T01:55:16.119" v="2490" actId="478"/>
          <ac:spMkLst>
            <pc:docMk/>
            <pc:sldMk cId="3821036019" sldId="283"/>
            <ac:spMk id="20" creationId="{4F86168A-AE75-4FCD-B899-1E8001923E97}"/>
          </ac:spMkLst>
        </pc:spChg>
        <pc:spChg chg="add mod">
          <ac:chgData name="Aniket Chhabra" userId="598e0514-bef3-4e71-b6aa-f2edd6441cff" providerId="ADAL" clId="{1E0742E9-302E-4BA7-A441-657099638712}" dt="2021-03-28T01:56:15.496" v="2514" actId="1035"/>
          <ac:spMkLst>
            <pc:docMk/>
            <pc:sldMk cId="3821036019" sldId="283"/>
            <ac:spMk id="21" creationId="{181678A0-8F86-4A58-9C05-F43F769428B9}"/>
          </ac:spMkLst>
        </pc:spChg>
        <pc:spChg chg="add mod">
          <ac:chgData name="Aniket Chhabra" userId="598e0514-bef3-4e71-b6aa-f2edd6441cff" providerId="ADAL" clId="{1E0742E9-302E-4BA7-A441-657099638712}" dt="2021-03-28T01:56:37.211" v="2528" actId="20577"/>
          <ac:spMkLst>
            <pc:docMk/>
            <pc:sldMk cId="3821036019" sldId="283"/>
            <ac:spMk id="22" creationId="{111431EB-1EB6-481A-804D-92803CDB801E}"/>
          </ac:spMkLst>
        </pc:spChg>
        <pc:spChg chg="add mod">
          <ac:chgData name="Aniket Chhabra" userId="598e0514-bef3-4e71-b6aa-f2edd6441cff" providerId="ADAL" clId="{1E0742E9-302E-4BA7-A441-657099638712}" dt="2021-03-28T01:56:39.744" v="2530" actId="20577"/>
          <ac:spMkLst>
            <pc:docMk/>
            <pc:sldMk cId="3821036019" sldId="283"/>
            <ac:spMk id="23" creationId="{A262D4BF-7EF9-40A7-99C8-57F19AD5F08A}"/>
          </ac:spMkLst>
        </pc:spChg>
        <pc:spChg chg="add mod">
          <ac:chgData name="Aniket Chhabra" userId="598e0514-bef3-4e71-b6aa-f2edd6441cff" providerId="ADAL" clId="{1E0742E9-302E-4BA7-A441-657099638712}" dt="2021-03-28T01:56:42.855" v="2532" actId="20577"/>
          <ac:spMkLst>
            <pc:docMk/>
            <pc:sldMk cId="3821036019" sldId="283"/>
            <ac:spMk id="24" creationId="{40561F72-C4D5-477A-A7E9-456CD905AB95}"/>
          </ac:spMkLst>
        </pc:spChg>
        <pc:spChg chg="add mod">
          <ac:chgData name="Aniket Chhabra" userId="598e0514-bef3-4e71-b6aa-f2edd6441cff" providerId="ADAL" clId="{1E0742E9-302E-4BA7-A441-657099638712}" dt="2021-03-29T00:54:04.005" v="2842" actId="20577"/>
          <ac:spMkLst>
            <pc:docMk/>
            <pc:sldMk cId="3821036019" sldId="283"/>
            <ac:spMk id="25" creationId="{1986A67A-4E9E-44ED-8EF1-7D90901F9C5C}"/>
          </ac:spMkLst>
        </pc:spChg>
        <pc:spChg chg="add mod">
          <ac:chgData name="Aniket Chhabra" userId="598e0514-bef3-4e71-b6aa-f2edd6441cff" providerId="ADAL" clId="{1E0742E9-302E-4BA7-A441-657099638712}" dt="2021-03-28T01:56:54.693" v="2534" actId="1076"/>
          <ac:spMkLst>
            <pc:docMk/>
            <pc:sldMk cId="3821036019" sldId="283"/>
            <ac:spMk id="26" creationId="{BE5EF12A-5E5C-4F84-93B9-DEB84D4DFEDD}"/>
          </ac:spMkLst>
        </pc:spChg>
        <pc:spChg chg="add mod">
          <ac:chgData name="Aniket Chhabra" userId="598e0514-bef3-4e71-b6aa-f2edd6441cff" providerId="ADAL" clId="{1E0742E9-302E-4BA7-A441-657099638712}" dt="2021-03-28T01:57:32.924" v="2538" actId="20577"/>
          <ac:spMkLst>
            <pc:docMk/>
            <pc:sldMk cId="3821036019" sldId="283"/>
            <ac:spMk id="27" creationId="{26BA1796-D818-400F-B767-4769E4411217}"/>
          </ac:spMkLst>
        </pc:spChg>
        <pc:graphicFrameChg chg="add mod modVis">
          <ac:chgData name="Aniket Chhabra" userId="598e0514-bef3-4e71-b6aa-f2edd6441cff" providerId="ADAL" clId="{1E0742E9-302E-4BA7-A441-657099638712}" dt="2021-03-28T01:47:15.822" v="2005"/>
          <ac:graphicFrameMkLst>
            <pc:docMk/>
            <pc:sldMk cId="3821036019" sldId="283"/>
            <ac:graphicFrameMk id="4" creationId="{19971473-89DA-42F1-A168-6C01E78351E0}"/>
          </ac:graphicFrameMkLst>
        </pc:graphicFrameChg>
      </pc:sldChg>
      <pc:sldChg chg="addSp delSp modSp add mod ord">
        <pc:chgData name="Aniket Chhabra" userId="598e0514-bef3-4e71-b6aa-f2edd6441cff" providerId="ADAL" clId="{1E0742E9-302E-4BA7-A441-657099638712}" dt="2021-03-30T03:04:58.746" v="5521"/>
        <pc:sldMkLst>
          <pc:docMk/>
          <pc:sldMk cId="3306731039" sldId="284"/>
        </pc:sldMkLst>
        <pc:spChg chg="del">
          <ac:chgData name="Aniket Chhabra" userId="598e0514-bef3-4e71-b6aa-f2edd6441cff" providerId="ADAL" clId="{1E0742E9-302E-4BA7-A441-657099638712}" dt="2021-03-29T00:51:50.664" v="2804" actId="478"/>
          <ac:spMkLst>
            <pc:docMk/>
            <pc:sldMk cId="3306731039" sldId="284"/>
            <ac:spMk id="5" creationId="{64CB73DA-CF92-4DA3-AE37-487E180DAA54}"/>
          </ac:spMkLst>
        </pc:spChg>
        <pc:spChg chg="mod">
          <ac:chgData name="Aniket Chhabra" userId="598e0514-bef3-4e71-b6aa-f2edd6441cff" providerId="ADAL" clId="{1E0742E9-302E-4BA7-A441-657099638712}" dt="2021-03-30T01:12:53.827" v="5295" actId="108"/>
          <ac:spMkLst>
            <pc:docMk/>
            <pc:sldMk cId="3306731039" sldId="284"/>
            <ac:spMk id="8" creationId="{777BE039-B209-4E46-991D-ECC2BF4D8AF3}"/>
          </ac:spMkLst>
        </pc:spChg>
        <pc:spChg chg="del">
          <ac:chgData name="Aniket Chhabra" userId="598e0514-bef3-4e71-b6aa-f2edd6441cff" providerId="ADAL" clId="{1E0742E9-302E-4BA7-A441-657099638712}" dt="2021-03-29T00:51:52.231" v="2805" actId="478"/>
          <ac:spMkLst>
            <pc:docMk/>
            <pc:sldMk cId="3306731039" sldId="284"/>
            <ac:spMk id="10" creationId="{B8A793FC-0B2E-4D9A-804E-21AF26FEC2B9}"/>
          </ac:spMkLst>
        </pc:spChg>
        <pc:spChg chg="del">
          <ac:chgData name="Aniket Chhabra" userId="598e0514-bef3-4e71-b6aa-f2edd6441cff" providerId="ADAL" clId="{1E0742E9-302E-4BA7-A441-657099638712}" dt="2021-03-29T00:51:50.664" v="2804" actId="478"/>
          <ac:spMkLst>
            <pc:docMk/>
            <pc:sldMk cId="3306731039" sldId="284"/>
            <ac:spMk id="11" creationId="{C34FD9F9-D0BE-46BA-83C1-DF761C4C2AF5}"/>
          </ac:spMkLst>
        </pc:spChg>
        <pc:spChg chg="del">
          <ac:chgData name="Aniket Chhabra" userId="598e0514-bef3-4e71-b6aa-f2edd6441cff" providerId="ADAL" clId="{1E0742E9-302E-4BA7-A441-657099638712}" dt="2021-03-29T00:51:50.664" v="2804" actId="478"/>
          <ac:spMkLst>
            <pc:docMk/>
            <pc:sldMk cId="3306731039" sldId="284"/>
            <ac:spMk id="15" creationId="{5AEE2DA9-6182-45A3-AB0C-EA4984BE1A43}"/>
          </ac:spMkLst>
        </pc:spChg>
        <pc:spChg chg="del">
          <ac:chgData name="Aniket Chhabra" userId="598e0514-bef3-4e71-b6aa-f2edd6441cff" providerId="ADAL" clId="{1E0742E9-302E-4BA7-A441-657099638712}" dt="2021-03-29T00:51:50.664" v="2804" actId="478"/>
          <ac:spMkLst>
            <pc:docMk/>
            <pc:sldMk cId="3306731039" sldId="284"/>
            <ac:spMk id="16" creationId="{75C6B953-063F-44B9-AF65-CBD84A305871}"/>
          </ac:spMkLst>
        </pc:spChg>
        <pc:spChg chg="del">
          <ac:chgData name="Aniket Chhabra" userId="598e0514-bef3-4e71-b6aa-f2edd6441cff" providerId="ADAL" clId="{1E0742E9-302E-4BA7-A441-657099638712}" dt="2021-03-29T00:51:50.664" v="2804" actId="478"/>
          <ac:spMkLst>
            <pc:docMk/>
            <pc:sldMk cId="3306731039" sldId="284"/>
            <ac:spMk id="18" creationId="{735CE6BB-2E04-4376-B838-25661BE8D43A}"/>
          </ac:spMkLst>
        </pc:spChg>
        <pc:spChg chg="del">
          <ac:chgData name="Aniket Chhabra" userId="598e0514-bef3-4e71-b6aa-f2edd6441cff" providerId="ADAL" clId="{1E0742E9-302E-4BA7-A441-657099638712}" dt="2021-03-29T00:51:50.664" v="2804" actId="478"/>
          <ac:spMkLst>
            <pc:docMk/>
            <pc:sldMk cId="3306731039" sldId="284"/>
            <ac:spMk id="19" creationId="{5EA49EA2-A3BC-40AE-A80A-0E89956F82E4}"/>
          </ac:spMkLst>
        </pc:spChg>
        <pc:spChg chg="del">
          <ac:chgData name="Aniket Chhabra" userId="598e0514-bef3-4e71-b6aa-f2edd6441cff" providerId="ADAL" clId="{1E0742E9-302E-4BA7-A441-657099638712}" dt="2021-03-29T00:51:50.664" v="2804" actId="478"/>
          <ac:spMkLst>
            <pc:docMk/>
            <pc:sldMk cId="3306731039" sldId="284"/>
            <ac:spMk id="21" creationId="{181678A0-8F86-4A58-9C05-F43F769428B9}"/>
          </ac:spMkLst>
        </pc:spChg>
        <pc:spChg chg="del">
          <ac:chgData name="Aniket Chhabra" userId="598e0514-bef3-4e71-b6aa-f2edd6441cff" providerId="ADAL" clId="{1E0742E9-302E-4BA7-A441-657099638712}" dt="2021-03-29T00:51:50.664" v="2804" actId="478"/>
          <ac:spMkLst>
            <pc:docMk/>
            <pc:sldMk cId="3306731039" sldId="284"/>
            <ac:spMk id="22" creationId="{111431EB-1EB6-481A-804D-92803CDB801E}"/>
          </ac:spMkLst>
        </pc:spChg>
        <pc:spChg chg="del">
          <ac:chgData name="Aniket Chhabra" userId="598e0514-bef3-4e71-b6aa-f2edd6441cff" providerId="ADAL" clId="{1E0742E9-302E-4BA7-A441-657099638712}" dt="2021-03-29T00:51:50.664" v="2804" actId="478"/>
          <ac:spMkLst>
            <pc:docMk/>
            <pc:sldMk cId="3306731039" sldId="284"/>
            <ac:spMk id="23" creationId="{A262D4BF-7EF9-40A7-99C8-57F19AD5F08A}"/>
          </ac:spMkLst>
        </pc:spChg>
        <pc:spChg chg="del">
          <ac:chgData name="Aniket Chhabra" userId="598e0514-bef3-4e71-b6aa-f2edd6441cff" providerId="ADAL" clId="{1E0742E9-302E-4BA7-A441-657099638712}" dt="2021-03-29T00:51:50.664" v="2804" actId="478"/>
          <ac:spMkLst>
            <pc:docMk/>
            <pc:sldMk cId="3306731039" sldId="284"/>
            <ac:spMk id="24" creationId="{40561F72-C4D5-477A-A7E9-456CD905AB95}"/>
          </ac:spMkLst>
        </pc:spChg>
        <pc:spChg chg="del">
          <ac:chgData name="Aniket Chhabra" userId="598e0514-bef3-4e71-b6aa-f2edd6441cff" providerId="ADAL" clId="{1E0742E9-302E-4BA7-A441-657099638712}" dt="2021-03-29T00:51:50.664" v="2804" actId="478"/>
          <ac:spMkLst>
            <pc:docMk/>
            <pc:sldMk cId="3306731039" sldId="284"/>
            <ac:spMk id="25" creationId="{1986A67A-4E9E-44ED-8EF1-7D90901F9C5C}"/>
          </ac:spMkLst>
        </pc:spChg>
        <pc:spChg chg="del">
          <ac:chgData name="Aniket Chhabra" userId="598e0514-bef3-4e71-b6aa-f2edd6441cff" providerId="ADAL" clId="{1E0742E9-302E-4BA7-A441-657099638712}" dt="2021-03-29T00:51:50.664" v="2804" actId="478"/>
          <ac:spMkLst>
            <pc:docMk/>
            <pc:sldMk cId="3306731039" sldId="284"/>
            <ac:spMk id="26" creationId="{BE5EF12A-5E5C-4F84-93B9-DEB84D4DFEDD}"/>
          </ac:spMkLst>
        </pc:spChg>
        <pc:spChg chg="del">
          <ac:chgData name="Aniket Chhabra" userId="598e0514-bef3-4e71-b6aa-f2edd6441cff" providerId="ADAL" clId="{1E0742E9-302E-4BA7-A441-657099638712}" dt="2021-03-29T00:51:50.664" v="2804" actId="478"/>
          <ac:spMkLst>
            <pc:docMk/>
            <pc:sldMk cId="3306731039" sldId="284"/>
            <ac:spMk id="27" creationId="{26BA1796-D818-400F-B767-4769E4411217}"/>
          </ac:spMkLst>
        </pc:spChg>
        <pc:spChg chg="mod topLvl">
          <ac:chgData name="Aniket Chhabra" userId="598e0514-bef3-4e71-b6aa-f2edd6441cff" providerId="ADAL" clId="{1E0742E9-302E-4BA7-A441-657099638712}" dt="2021-03-29T01:02:43.036" v="3744" actId="478"/>
          <ac:spMkLst>
            <pc:docMk/>
            <pc:sldMk cId="3306731039" sldId="284"/>
            <ac:spMk id="28" creationId="{7DB4CD6C-5AA7-45FB-BA36-D8C1306097DB}"/>
          </ac:spMkLst>
        </pc:spChg>
        <pc:spChg chg="del mod topLvl">
          <ac:chgData name="Aniket Chhabra" userId="598e0514-bef3-4e71-b6aa-f2edd6441cff" providerId="ADAL" clId="{1E0742E9-302E-4BA7-A441-657099638712}" dt="2021-03-29T01:02:43.036" v="3744" actId="478"/>
          <ac:spMkLst>
            <pc:docMk/>
            <pc:sldMk cId="3306731039" sldId="284"/>
            <ac:spMk id="29" creationId="{87BCF76D-6314-462A-A312-2BCE9453644E}"/>
          </ac:spMkLst>
        </pc:spChg>
        <pc:spChg chg="add mod">
          <ac:chgData name="Aniket Chhabra" userId="598e0514-bef3-4e71-b6aa-f2edd6441cff" providerId="ADAL" clId="{1E0742E9-302E-4BA7-A441-657099638712}" dt="2021-03-29T01:02:36.421" v="3743" actId="6549"/>
          <ac:spMkLst>
            <pc:docMk/>
            <pc:sldMk cId="3306731039" sldId="284"/>
            <ac:spMk id="30" creationId="{67E17D77-72D5-49C3-845C-3CA51FE5D470}"/>
          </ac:spMkLst>
        </pc:spChg>
        <pc:grpChg chg="add del mod">
          <ac:chgData name="Aniket Chhabra" userId="598e0514-bef3-4e71-b6aa-f2edd6441cff" providerId="ADAL" clId="{1E0742E9-302E-4BA7-A441-657099638712}" dt="2021-03-29T01:02:43.036" v="3744" actId="478"/>
          <ac:grpSpMkLst>
            <pc:docMk/>
            <pc:sldMk cId="3306731039" sldId="284"/>
            <ac:grpSpMk id="20" creationId="{2EB203EA-F31A-4390-9225-FB261F140756}"/>
          </ac:grpSpMkLst>
        </pc:grpChg>
        <pc:picChg chg="add del mod">
          <ac:chgData name="Aniket Chhabra" userId="598e0514-bef3-4e71-b6aa-f2edd6441cff" providerId="ADAL" clId="{1E0742E9-302E-4BA7-A441-657099638712}" dt="2021-03-29T00:59:33.166" v="3232" actId="478"/>
          <ac:picMkLst>
            <pc:docMk/>
            <pc:sldMk cId="3306731039" sldId="284"/>
            <ac:picMk id="3" creationId="{5FAE0065-E6D5-42E4-8A78-82A4C8C17676}"/>
          </ac:picMkLst>
        </pc:picChg>
        <pc:picChg chg="add mod">
          <ac:chgData name="Aniket Chhabra" userId="598e0514-bef3-4e71-b6aa-f2edd6441cff" providerId="ADAL" clId="{1E0742E9-302E-4BA7-A441-657099638712}" dt="2021-03-29T00:59:37.250" v="3236" actId="1076"/>
          <ac:picMkLst>
            <pc:docMk/>
            <pc:sldMk cId="3306731039" sldId="284"/>
            <ac:picMk id="7" creationId="{5B74D3B6-720B-4BA3-9A42-FF2037AFDF51}"/>
          </ac:picMkLst>
        </pc:picChg>
      </pc:sldChg>
      <pc:sldChg chg="addSp delSp modSp add mod">
        <pc:chgData name="Aniket Chhabra" userId="598e0514-bef3-4e71-b6aa-f2edd6441cff" providerId="ADAL" clId="{1E0742E9-302E-4BA7-A441-657099638712}" dt="2021-03-30T01:12:14.158" v="4926"/>
        <pc:sldMkLst>
          <pc:docMk/>
          <pc:sldMk cId="2767017119" sldId="285"/>
        </pc:sldMkLst>
        <pc:spChg chg="mod">
          <ac:chgData name="Aniket Chhabra" userId="598e0514-bef3-4e71-b6aa-f2edd6441cff" providerId="ADAL" clId="{1E0742E9-302E-4BA7-A441-657099638712}" dt="2021-03-30T01:12:14.116" v="4887" actId="948"/>
          <ac:spMkLst>
            <pc:docMk/>
            <pc:sldMk cId="2767017119" sldId="285"/>
            <ac:spMk id="2" creationId="{7183013F-CCFC-4588-B693-22F514492FED}"/>
          </ac:spMkLst>
        </pc:spChg>
        <pc:spChg chg="del">
          <ac:chgData name="Aniket Chhabra" userId="598e0514-bef3-4e71-b6aa-f2edd6441cff" providerId="ADAL" clId="{1E0742E9-302E-4BA7-A441-657099638712}" dt="2021-03-30T01:00:04.805" v="3898" actId="478"/>
          <ac:spMkLst>
            <pc:docMk/>
            <pc:sldMk cId="2767017119" sldId="285"/>
            <ac:spMk id="4" creationId="{F3807A01-B17C-42BF-AA7E-CF5C43C3B75F}"/>
          </ac:spMkLst>
        </pc:spChg>
        <pc:spChg chg="del">
          <ac:chgData name="Aniket Chhabra" userId="598e0514-bef3-4e71-b6aa-f2edd6441cff" providerId="ADAL" clId="{1E0742E9-302E-4BA7-A441-657099638712}" dt="2021-03-30T01:00:04.805" v="3898" actId="478"/>
          <ac:spMkLst>
            <pc:docMk/>
            <pc:sldMk cId="2767017119" sldId="285"/>
            <ac:spMk id="5" creationId="{E414F076-81AF-4B04-A4B4-CD61BD34F93D}"/>
          </ac:spMkLst>
        </pc:spChg>
        <pc:spChg chg="add del mod modVis">
          <ac:chgData name="Aniket Chhabra" userId="598e0514-bef3-4e71-b6aa-f2edd6441cff" providerId="ADAL" clId="{1E0742E9-302E-4BA7-A441-657099638712}" dt="2021-03-30T01:02:00.409" v="4098"/>
          <ac:spMkLst>
            <pc:docMk/>
            <pc:sldMk cId="2767017119" sldId="285"/>
            <ac:spMk id="6" creationId="{F7E9BD3B-86D3-4CE0-866D-92BEFF02F811}"/>
          </ac:spMkLst>
        </pc:spChg>
        <pc:spChg chg="mod">
          <ac:chgData name="Aniket Chhabra" userId="598e0514-bef3-4e71-b6aa-f2edd6441cff" providerId="ADAL" clId="{1E0742E9-302E-4BA7-A441-657099638712}" dt="2021-03-30T01:05:18.061" v="4638" actId="948"/>
          <ac:spMkLst>
            <pc:docMk/>
            <pc:sldMk cId="2767017119" sldId="285"/>
            <ac:spMk id="7" creationId="{146CE9CF-C344-42AA-93B1-EEA38DE31CA2}"/>
          </ac:spMkLst>
        </pc:spChg>
        <pc:spChg chg="del">
          <ac:chgData name="Aniket Chhabra" userId="598e0514-bef3-4e71-b6aa-f2edd6441cff" providerId="ADAL" clId="{1E0742E9-302E-4BA7-A441-657099638712}" dt="2021-03-30T01:00:04.805" v="3898" actId="478"/>
          <ac:spMkLst>
            <pc:docMk/>
            <pc:sldMk cId="2767017119" sldId="285"/>
            <ac:spMk id="8" creationId="{681EB6FC-C508-4391-B5BD-CD2EF97DBC4D}"/>
          </ac:spMkLst>
        </pc:spChg>
        <pc:spChg chg="del">
          <ac:chgData name="Aniket Chhabra" userId="598e0514-bef3-4e71-b6aa-f2edd6441cff" providerId="ADAL" clId="{1E0742E9-302E-4BA7-A441-657099638712}" dt="2021-03-30T01:00:04.805" v="3898" actId="478"/>
          <ac:spMkLst>
            <pc:docMk/>
            <pc:sldMk cId="2767017119" sldId="285"/>
            <ac:spMk id="9" creationId="{9F944C8C-941B-4D9A-8A8E-104458ED8E9C}"/>
          </ac:spMkLst>
        </pc:spChg>
        <pc:spChg chg="del">
          <ac:chgData name="Aniket Chhabra" userId="598e0514-bef3-4e71-b6aa-f2edd6441cff" providerId="ADAL" clId="{1E0742E9-302E-4BA7-A441-657099638712}" dt="2021-03-30T01:00:04.805" v="3898" actId="478"/>
          <ac:spMkLst>
            <pc:docMk/>
            <pc:sldMk cId="2767017119" sldId="285"/>
            <ac:spMk id="10" creationId="{4A6DF01E-B6F8-462D-836A-F72BEBEAA248}"/>
          </ac:spMkLst>
        </pc:spChg>
        <pc:spChg chg="del">
          <ac:chgData name="Aniket Chhabra" userId="598e0514-bef3-4e71-b6aa-f2edd6441cff" providerId="ADAL" clId="{1E0742E9-302E-4BA7-A441-657099638712}" dt="2021-03-30T01:00:04.805" v="3898" actId="478"/>
          <ac:spMkLst>
            <pc:docMk/>
            <pc:sldMk cId="2767017119" sldId="285"/>
            <ac:spMk id="11" creationId="{134AF28D-413E-411D-9AC4-202C96B56681}"/>
          </ac:spMkLst>
        </pc:spChg>
        <pc:spChg chg="add del mod modVis">
          <ac:chgData name="Aniket Chhabra" userId="598e0514-bef3-4e71-b6aa-f2edd6441cff" providerId="ADAL" clId="{1E0742E9-302E-4BA7-A441-657099638712}" dt="2021-03-30T01:02:04.828" v="4153"/>
          <ac:spMkLst>
            <pc:docMk/>
            <pc:sldMk cId="2767017119" sldId="285"/>
            <ac:spMk id="12" creationId="{867CC8AA-A339-4BAC-980F-19F53927EFE3}"/>
          </ac:spMkLst>
        </pc:spChg>
        <pc:spChg chg="add del mod modVis">
          <ac:chgData name="Aniket Chhabra" userId="598e0514-bef3-4e71-b6aa-f2edd6441cff" providerId="ADAL" clId="{1E0742E9-302E-4BA7-A441-657099638712}" dt="2021-03-30T01:02:06.181" v="4197"/>
          <ac:spMkLst>
            <pc:docMk/>
            <pc:sldMk cId="2767017119" sldId="285"/>
            <ac:spMk id="13" creationId="{40445ECB-FBB2-4A04-A459-7C17090741AD}"/>
          </ac:spMkLst>
        </pc:spChg>
        <pc:spChg chg="add del mod modVis">
          <ac:chgData name="Aniket Chhabra" userId="598e0514-bef3-4e71-b6aa-f2edd6441cff" providerId="ADAL" clId="{1E0742E9-302E-4BA7-A441-657099638712}" dt="2021-03-30T01:02:07.710" v="4241"/>
          <ac:spMkLst>
            <pc:docMk/>
            <pc:sldMk cId="2767017119" sldId="285"/>
            <ac:spMk id="14" creationId="{14F948FD-ECE2-4DF2-9D2B-6B09CE4DAEC9}"/>
          </ac:spMkLst>
        </pc:spChg>
        <pc:spChg chg="add del mod modVis">
          <ac:chgData name="Aniket Chhabra" userId="598e0514-bef3-4e71-b6aa-f2edd6441cff" providerId="ADAL" clId="{1E0742E9-302E-4BA7-A441-657099638712}" dt="2021-03-30T01:02:11.967" v="4285"/>
          <ac:spMkLst>
            <pc:docMk/>
            <pc:sldMk cId="2767017119" sldId="285"/>
            <ac:spMk id="15" creationId="{3045723B-C6EC-47E7-8061-383B33CCF478}"/>
          </ac:spMkLst>
        </pc:spChg>
        <pc:spChg chg="add del mod modVis">
          <ac:chgData name="Aniket Chhabra" userId="598e0514-bef3-4e71-b6aa-f2edd6441cff" providerId="ADAL" clId="{1E0742E9-302E-4BA7-A441-657099638712}" dt="2021-03-30T01:02:12.889" v="4328"/>
          <ac:spMkLst>
            <pc:docMk/>
            <pc:sldMk cId="2767017119" sldId="285"/>
            <ac:spMk id="16" creationId="{FDE003E9-FCEC-4012-86F5-EF89B02BB0B9}"/>
          </ac:spMkLst>
        </pc:spChg>
        <pc:spChg chg="add del mod modVis">
          <ac:chgData name="Aniket Chhabra" userId="598e0514-bef3-4e71-b6aa-f2edd6441cff" providerId="ADAL" clId="{1E0742E9-302E-4BA7-A441-657099638712}" dt="2021-03-30T01:02:14.456" v="4375"/>
          <ac:spMkLst>
            <pc:docMk/>
            <pc:sldMk cId="2767017119" sldId="285"/>
            <ac:spMk id="17" creationId="{EDB925FF-AEB9-4055-A9CD-F4F8F45312E0}"/>
          </ac:spMkLst>
        </pc:spChg>
        <pc:spChg chg="add del mod modVis">
          <ac:chgData name="Aniket Chhabra" userId="598e0514-bef3-4e71-b6aa-f2edd6441cff" providerId="ADAL" clId="{1E0742E9-302E-4BA7-A441-657099638712}" dt="2021-03-30T01:12:14.155" v="4924"/>
          <ac:spMkLst>
            <pc:docMk/>
            <pc:sldMk cId="2767017119" sldId="285"/>
            <ac:spMk id="18" creationId="{D4AA7862-A6E5-4B85-9EC2-32BABDF74655}"/>
          </ac:spMkLst>
        </pc:spChg>
        <pc:graphicFrameChg chg="add mod ord modVis">
          <ac:chgData name="Aniket Chhabra" userId="598e0514-bef3-4e71-b6aa-f2edd6441cff" providerId="ADAL" clId="{1E0742E9-302E-4BA7-A441-657099638712}" dt="2021-03-30T01:12:14.158" v="4926"/>
          <ac:graphicFrameMkLst>
            <pc:docMk/>
            <pc:sldMk cId="2767017119" sldId="285"/>
            <ac:graphicFrameMk id="3" creationId="{F2079EB6-3521-4EBE-80A0-52C0F4FE1139}"/>
          </ac:graphicFrameMkLst>
        </pc:graphicFrameChg>
      </pc:sldChg>
      <pc:sldChg chg="addSp delSp modSp add mod">
        <pc:chgData name="Aniket Chhabra" userId="598e0514-bef3-4e71-b6aa-f2edd6441cff" providerId="ADAL" clId="{1E0742E9-302E-4BA7-A441-657099638712}" dt="2021-03-30T01:12:08.499" v="4885"/>
        <pc:sldMkLst>
          <pc:docMk/>
          <pc:sldMk cId="171293028" sldId="286"/>
        </pc:sldMkLst>
        <pc:spChg chg="mod">
          <ac:chgData name="Aniket Chhabra" userId="598e0514-bef3-4e71-b6aa-f2edd6441cff" providerId="ADAL" clId="{1E0742E9-302E-4BA7-A441-657099638712}" dt="2021-03-30T01:12:08.452" v="4846" actId="948"/>
          <ac:spMkLst>
            <pc:docMk/>
            <pc:sldMk cId="171293028" sldId="286"/>
            <ac:spMk id="2" creationId="{7183013F-CCFC-4588-B693-22F514492FED}"/>
          </ac:spMkLst>
        </pc:spChg>
        <pc:spChg chg="mod">
          <ac:chgData name="Aniket Chhabra" userId="598e0514-bef3-4e71-b6aa-f2edd6441cff" providerId="ADAL" clId="{1E0742E9-302E-4BA7-A441-657099638712}" dt="2021-03-30T01:08:31.217" v="4643" actId="20577"/>
          <ac:spMkLst>
            <pc:docMk/>
            <pc:sldMk cId="171293028" sldId="286"/>
            <ac:spMk id="7" creationId="{146CE9CF-C344-42AA-93B1-EEA38DE31CA2}"/>
          </ac:spMkLst>
        </pc:spChg>
        <pc:spChg chg="mod">
          <ac:chgData name="Aniket Chhabra" userId="598e0514-bef3-4e71-b6aa-f2edd6441cff" providerId="ADAL" clId="{1E0742E9-302E-4BA7-A441-657099638712}" dt="2021-03-30T01:09:53.489" v="4647" actId="403"/>
          <ac:spMkLst>
            <pc:docMk/>
            <pc:sldMk cId="171293028" sldId="286"/>
            <ac:spMk id="8" creationId="{FEDEB10D-A240-4302-8B96-EB26E38D7E94}"/>
          </ac:spMkLst>
        </pc:spChg>
        <pc:spChg chg="add mod">
          <ac:chgData name="Aniket Chhabra" userId="598e0514-bef3-4e71-b6aa-f2edd6441cff" providerId="ADAL" clId="{1E0742E9-302E-4BA7-A441-657099638712}" dt="2021-03-30T01:09:58.823" v="4648" actId="1076"/>
          <ac:spMkLst>
            <pc:docMk/>
            <pc:sldMk cId="171293028" sldId="286"/>
            <ac:spMk id="10" creationId="{719234B9-994A-4A12-8A93-C907BCDEF529}"/>
          </ac:spMkLst>
        </pc:spChg>
        <pc:spChg chg="add mod">
          <ac:chgData name="Aniket Chhabra" userId="598e0514-bef3-4e71-b6aa-f2edd6441cff" providerId="ADAL" clId="{1E0742E9-302E-4BA7-A441-657099638712}" dt="2021-03-30T01:09:58.823" v="4648" actId="1076"/>
          <ac:spMkLst>
            <pc:docMk/>
            <pc:sldMk cId="171293028" sldId="286"/>
            <ac:spMk id="11" creationId="{E19F7B04-B952-418B-94CF-E7010F043EFD}"/>
          </ac:spMkLst>
        </pc:spChg>
        <pc:spChg chg="add mod">
          <ac:chgData name="Aniket Chhabra" userId="598e0514-bef3-4e71-b6aa-f2edd6441cff" providerId="ADAL" clId="{1E0742E9-302E-4BA7-A441-657099638712}" dt="2021-03-30T01:09:58.823" v="4648" actId="1076"/>
          <ac:spMkLst>
            <pc:docMk/>
            <pc:sldMk cId="171293028" sldId="286"/>
            <ac:spMk id="12" creationId="{F177EACD-BB1E-42B3-BB0C-D8E76C73028F}"/>
          </ac:spMkLst>
        </pc:spChg>
        <pc:spChg chg="add mod">
          <ac:chgData name="Aniket Chhabra" userId="598e0514-bef3-4e71-b6aa-f2edd6441cff" providerId="ADAL" clId="{1E0742E9-302E-4BA7-A441-657099638712}" dt="2021-03-30T01:11:54.024" v="4764" actId="20577"/>
          <ac:spMkLst>
            <pc:docMk/>
            <pc:sldMk cId="171293028" sldId="286"/>
            <ac:spMk id="13" creationId="{20570ED6-5B82-4D48-B90D-C0ED1DC043D7}"/>
          </ac:spMkLst>
        </pc:spChg>
        <pc:spChg chg="mod">
          <ac:chgData name="Aniket Chhabra" userId="598e0514-bef3-4e71-b6aa-f2edd6441cff" providerId="ADAL" clId="{1E0742E9-302E-4BA7-A441-657099638712}" dt="2021-03-30T01:09:53.489" v="4647" actId="403"/>
          <ac:spMkLst>
            <pc:docMk/>
            <pc:sldMk cId="171293028" sldId="286"/>
            <ac:spMk id="15" creationId="{EA519DA0-64F9-4CA5-975D-B3D418BC0B8F}"/>
          </ac:spMkLst>
        </pc:spChg>
        <pc:spChg chg="mod">
          <ac:chgData name="Aniket Chhabra" userId="598e0514-bef3-4e71-b6aa-f2edd6441cff" providerId="ADAL" clId="{1E0742E9-302E-4BA7-A441-657099638712}" dt="2021-03-30T01:09:53.489" v="4647" actId="403"/>
          <ac:spMkLst>
            <pc:docMk/>
            <pc:sldMk cId="171293028" sldId="286"/>
            <ac:spMk id="18" creationId="{8D32C0F5-65C2-44F0-A4D4-48902E2AB28F}"/>
          </ac:spMkLst>
        </pc:spChg>
        <pc:spChg chg="mod">
          <ac:chgData name="Aniket Chhabra" userId="598e0514-bef3-4e71-b6aa-f2edd6441cff" providerId="ADAL" clId="{1E0742E9-302E-4BA7-A441-657099638712}" dt="2021-03-30T01:09:53.489" v="4647" actId="403"/>
          <ac:spMkLst>
            <pc:docMk/>
            <pc:sldMk cId="171293028" sldId="286"/>
            <ac:spMk id="21" creationId="{9E933C1B-9D0E-4E27-A3C5-683EB5FCF585}"/>
          </ac:spMkLst>
        </pc:spChg>
        <pc:spChg chg="add mod">
          <ac:chgData name="Aniket Chhabra" userId="598e0514-bef3-4e71-b6aa-f2edd6441cff" providerId="ADAL" clId="{1E0742E9-302E-4BA7-A441-657099638712}" dt="2021-03-30T01:10:09.348" v="4649"/>
          <ac:spMkLst>
            <pc:docMk/>
            <pc:sldMk cId="171293028" sldId="286"/>
            <ac:spMk id="23" creationId="{4C650384-0F3A-46B4-BE95-D085F2A1AEAE}"/>
          </ac:spMkLst>
        </pc:spChg>
        <pc:spChg chg="mod">
          <ac:chgData name="Aniket Chhabra" userId="598e0514-bef3-4e71-b6aa-f2edd6441cff" providerId="ADAL" clId="{1E0742E9-302E-4BA7-A441-657099638712}" dt="2021-03-30T01:10:09.348" v="4649"/>
          <ac:spMkLst>
            <pc:docMk/>
            <pc:sldMk cId="171293028" sldId="286"/>
            <ac:spMk id="25" creationId="{6E3D5507-5806-47C5-890D-8E4D7594F3F2}"/>
          </ac:spMkLst>
        </pc:spChg>
        <pc:spChg chg="add del mod modVis">
          <ac:chgData name="Aniket Chhabra" userId="598e0514-bef3-4e71-b6aa-f2edd6441cff" providerId="ADAL" clId="{1E0742E9-302E-4BA7-A441-657099638712}" dt="2021-03-30T01:12:05.820" v="4840" actId="962"/>
          <ac:spMkLst>
            <pc:docMk/>
            <pc:sldMk cId="171293028" sldId="286"/>
            <ac:spMk id="28" creationId="{9BA36AD6-1B9B-4191-A42D-AA63C68D95B2}"/>
          </ac:spMkLst>
        </pc:spChg>
        <pc:spChg chg="add del mod modVis">
          <ac:chgData name="Aniket Chhabra" userId="598e0514-bef3-4e71-b6aa-f2edd6441cff" providerId="ADAL" clId="{1E0742E9-302E-4BA7-A441-657099638712}" dt="2021-03-30T01:12:08.496" v="4883"/>
          <ac:spMkLst>
            <pc:docMk/>
            <pc:sldMk cId="171293028" sldId="286"/>
            <ac:spMk id="29" creationId="{093B448B-F97D-4B68-A040-9FD1E668DAB1}"/>
          </ac:spMkLst>
        </pc:spChg>
        <pc:grpChg chg="add mod">
          <ac:chgData name="Aniket Chhabra" userId="598e0514-bef3-4e71-b6aa-f2edd6441cff" providerId="ADAL" clId="{1E0742E9-302E-4BA7-A441-657099638712}" dt="2021-03-30T01:09:58.823" v="4648" actId="1076"/>
          <ac:grpSpMkLst>
            <pc:docMk/>
            <pc:sldMk cId="171293028" sldId="286"/>
            <ac:grpSpMk id="6" creationId="{098A9452-E9CB-49A2-BA20-58DFB5775DB0}"/>
          </ac:grpSpMkLst>
        </pc:grpChg>
        <pc:grpChg chg="add mod">
          <ac:chgData name="Aniket Chhabra" userId="598e0514-bef3-4e71-b6aa-f2edd6441cff" providerId="ADAL" clId="{1E0742E9-302E-4BA7-A441-657099638712}" dt="2021-03-30T01:09:58.823" v="4648" actId="1076"/>
          <ac:grpSpMkLst>
            <pc:docMk/>
            <pc:sldMk cId="171293028" sldId="286"/>
            <ac:grpSpMk id="14" creationId="{05D9AB43-400F-4492-AB28-637AE9548625}"/>
          </ac:grpSpMkLst>
        </pc:grpChg>
        <pc:grpChg chg="add mod">
          <ac:chgData name="Aniket Chhabra" userId="598e0514-bef3-4e71-b6aa-f2edd6441cff" providerId="ADAL" clId="{1E0742E9-302E-4BA7-A441-657099638712}" dt="2021-03-30T01:09:58.823" v="4648" actId="1076"/>
          <ac:grpSpMkLst>
            <pc:docMk/>
            <pc:sldMk cId="171293028" sldId="286"/>
            <ac:grpSpMk id="17" creationId="{E1DAE3D4-9D39-492D-BA6D-5532D9D1A3E1}"/>
          </ac:grpSpMkLst>
        </pc:grpChg>
        <pc:grpChg chg="add mod">
          <ac:chgData name="Aniket Chhabra" userId="598e0514-bef3-4e71-b6aa-f2edd6441cff" providerId="ADAL" clId="{1E0742E9-302E-4BA7-A441-657099638712}" dt="2021-03-30T01:09:58.823" v="4648" actId="1076"/>
          <ac:grpSpMkLst>
            <pc:docMk/>
            <pc:sldMk cId="171293028" sldId="286"/>
            <ac:grpSpMk id="20" creationId="{013ABDD1-CFF0-476D-87CF-614227696F8D}"/>
          </ac:grpSpMkLst>
        </pc:grpChg>
        <pc:grpChg chg="add mod">
          <ac:chgData name="Aniket Chhabra" userId="598e0514-bef3-4e71-b6aa-f2edd6441cff" providerId="ADAL" clId="{1E0742E9-302E-4BA7-A441-657099638712}" dt="2021-03-30T01:10:30.037" v="4663" actId="1036"/>
          <ac:grpSpMkLst>
            <pc:docMk/>
            <pc:sldMk cId="171293028" sldId="286"/>
            <ac:grpSpMk id="24" creationId="{4906B12B-0C40-45DE-A7B8-1CE1697EBC50}"/>
          </ac:grpSpMkLst>
        </pc:grpChg>
        <pc:graphicFrameChg chg="mod">
          <ac:chgData name="Aniket Chhabra" userId="598e0514-bef3-4e71-b6aa-f2edd6441cff" providerId="ADAL" clId="{1E0742E9-302E-4BA7-A441-657099638712}" dt="2021-03-30T01:12:08.499" v="4885"/>
          <ac:graphicFrameMkLst>
            <pc:docMk/>
            <pc:sldMk cId="171293028" sldId="286"/>
            <ac:graphicFrameMk id="3" creationId="{F2079EB6-3521-4EBE-80A0-52C0F4FE1139}"/>
          </ac:graphicFrameMkLst>
        </pc:graphicFrameChg>
        <pc:cxnChg chg="add mod">
          <ac:chgData name="Aniket Chhabra" userId="598e0514-bef3-4e71-b6aa-f2edd6441cff" providerId="ADAL" clId="{1E0742E9-302E-4BA7-A441-657099638712}" dt="2021-03-30T01:10:26.236" v="4652" actId="14100"/>
          <ac:cxnSpMkLst>
            <pc:docMk/>
            <pc:sldMk cId="171293028" sldId="286"/>
            <ac:cxnSpMk id="5" creationId="{9FC09A03-5F7E-4A47-92B0-3A283363CCB8}"/>
          </ac:cxnSpMkLst>
        </pc:cxnChg>
        <pc:cxnChg chg="mod">
          <ac:chgData name="Aniket Chhabra" userId="598e0514-bef3-4e71-b6aa-f2edd6441cff" providerId="ADAL" clId="{1E0742E9-302E-4BA7-A441-657099638712}" dt="2021-03-30T01:09:48.828" v="4644"/>
          <ac:cxnSpMkLst>
            <pc:docMk/>
            <pc:sldMk cId="171293028" sldId="286"/>
            <ac:cxnSpMk id="9" creationId="{6D347C6F-712E-49F6-9700-63C5A4A83A37}"/>
          </ac:cxnSpMkLst>
        </pc:cxnChg>
        <pc:cxnChg chg="mod">
          <ac:chgData name="Aniket Chhabra" userId="598e0514-bef3-4e71-b6aa-f2edd6441cff" providerId="ADAL" clId="{1E0742E9-302E-4BA7-A441-657099638712}" dt="2021-03-30T01:09:48.828" v="4644"/>
          <ac:cxnSpMkLst>
            <pc:docMk/>
            <pc:sldMk cId="171293028" sldId="286"/>
            <ac:cxnSpMk id="16" creationId="{23E0891E-EE6F-4203-A449-5763F754BF80}"/>
          </ac:cxnSpMkLst>
        </pc:cxnChg>
        <pc:cxnChg chg="mod">
          <ac:chgData name="Aniket Chhabra" userId="598e0514-bef3-4e71-b6aa-f2edd6441cff" providerId="ADAL" clId="{1E0742E9-302E-4BA7-A441-657099638712}" dt="2021-03-30T01:09:48.828" v="4644"/>
          <ac:cxnSpMkLst>
            <pc:docMk/>
            <pc:sldMk cId="171293028" sldId="286"/>
            <ac:cxnSpMk id="19" creationId="{F28D34A9-1CC5-4609-B5AA-F18869F3B50B}"/>
          </ac:cxnSpMkLst>
        </pc:cxnChg>
        <pc:cxnChg chg="mod">
          <ac:chgData name="Aniket Chhabra" userId="598e0514-bef3-4e71-b6aa-f2edd6441cff" providerId="ADAL" clId="{1E0742E9-302E-4BA7-A441-657099638712}" dt="2021-03-30T01:09:48.828" v="4644"/>
          <ac:cxnSpMkLst>
            <pc:docMk/>
            <pc:sldMk cId="171293028" sldId="286"/>
            <ac:cxnSpMk id="22" creationId="{06B7051D-A3F8-43B1-836F-42DE0D77A55F}"/>
          </ac:cxnSpMkLst>
        </pc:cxnChg>
        <pc:cxnChg chg="mod">
          <ac:chgData name="Aniket Chhabra" userId="598e0514-bef3-4e71-b6aa-f2edd6441cff" providerId="ADAL" clId="{1E0742E9-302E-4BA7-A441-657099638712}" dt="2021-03-30T01:10:09.348" v="4649"/>
          <ac:cxnSpMkLst>
            <pc:docMk/>
            <pc:sldMk cId="171293028" sldId="286"/>
            <ac:cxnSpMk id="26" creationId="{3ADF5F67-E491-49E9-BA5B-E65906C2534E}"/>
          </ac:cxnSpMkLst>
        </pc:cxnChg>
      </pc:sldChg>
      <pc:sldChg chg="new add del">
        <pc:chgData name="Aniket Chhabra" userId="598e0514-bef3-4e71-b6aa-f2edd6441cff" providerId="ADAL" clId="{1E0742E9-302E-4BA7-A441-657099638712}" dt="2021-03-30T03:16:32.793" v="5528" actId="680"/>
        <pc:sldMkLst>
          <pc:docMk/>
          <pc:sldMk cId="129687902" sldId="287"/>
        </pc:sldMkLst>
      </pc:sldChg>
      <pc:sldChg chg="addSp delSp modSp add mod">
        <pc:chgData name="Aniket Chhabra" userId="598e0514-bef3-4e71-b6aa-f2edd6441cff" providerId="ADAL" clId="{1E0742E9-302E-4BA7-A441-657099638712}" dt="2021-03-30T03:16:58.525" v="5896"/>
        <pc:sldMkLst>
          <pc:docMk/>
          <pc:sldMk cId="515159506" sldId="287"/>
        </pc:sldMkLst>
        <pc:spChg chg="add del mod modVis">
          <ac:chgData name="Aniket Chhabra" userId="598e0514-bef3-4e71-b6aa-f2edd6441cff" providerId="ADAL" clId="{1E0742E9-302E-4BA7-A441-657099638712}" dt="2021-03-30T03:16:41.930" v="5569"/>
          <ac:spMkLst>
            <pc:docMk/>
            <pc:sldMk cId="515159506" sldId="287"/>
            <ac:spMk id="2" creationId="{52CCF665-467B-4230-95D4-03AE554D7CEF}"/>
          </ac:spMkLst>
        </pc:spChg>
        <pc:spChg chg="add del mod modVis">
          <ac:chgData name="Aniket Chhabra" userId="598e0514-bef3-4e71-b6aa-f2edd6441cff" providerId="ADAL" clId="{1E0742E9-302E-4BA7-A441-657099638712}" dt="2021-03-30T03:16:46.033" v="5626"/>
          <ac:spMkLst>
            <pc:docMk/>
            <pc:sldMk cId="515159506" sldId="287"/>
            <ac:spMk id="4" creationId="{6E2C6DC9-1043-4362-9E5C-994364581E5F}"/>
          </ac:spMkLst>
        </pc:spChg>
        <pc:spChg chg="del">
          <ac:chgData name="Aniket Chhabra" userId="598e0514-bef3-4e71-b6aa-f2edd6441cff" providerId="ADAL" clId="{1E0742E9-302E-4BA7-A441-657099638712}" dt="2021-03-30T03:16:37.938" v="5530" actId="478"/>
          <ac:spMkLst>
            <pc:docMk/>
            <pc:sldMk cId="515159506" sldId="287"/>
            <ac:spMk id="5" creationId="{EB00EC8B-D9ED-43A8-AFAF-B4E5092738AF}"/>
          </ac:spMkLst>
        </pc:spChg>
        <pc:spChg chg="add del mod modVis">
          <ac:chgData name="Aniket Chhabra" userId="598e0514-bef3-4e71-b6aa-f2edd6441cff" providerId="ADAL" clId="{1E0742E9-302E-4BA7-A441-657099638712}" dt="2021-03-30T03:16:47.468" v="5672"/>
          <ac:spMkLst>
            <pc:docMk/>
            <pc:sldMk cId="515159506" sldId="287"/>
            <ac:spMk id="6" creationId="{4687ED2F-114E-4BBF-8946-82C6A6FF72EC}"/>
          </ac:spMkLst>
        </pc:spChg>
        <pc:spChg chg="add del mod modVis">
          <ac:chgData name="Aniket Chhabra" userId="598e0514-bef3-4e71-b6aa-f2edd6441cff" providerId="ADAL" clId="{1E0742E9-302E-4BA7-A441-657099638712}" dt="2021-03-30T03:16:48.485" v="5715"/>
          <ac:spMkLst>
            <pc:docMk/>
            <pc:sldMk cId="515159506" sldId="287"/>
            <ac:spMk id="7" creationId="{4826B1CF-2FDB-4CF3-B238-38ACDE7402FE}"/>
          </ac:spMkLst>
        </pc:spChg>
        <pc:spChg chg="mod">
          <ac:chgData name="Aniket Chhabra" userId="598e0514-bef3-4e71-b6aa-f2edd6441cff" providerId="ADAL" clId="{1E0742E9-302E-4BA7-A441-657099638712}" dt="2021-03-30T03:16:58.476" v="5857" actId="948"/>
          <ac:spMkLst>
            <pc:docMk/>
            <pc:sldMk cId="515159506" sldId="287"/>
            <ac:spMk id="8" creationId="{CFFF491F-A0C8-4E04-BA65-41359695FF0A}"/>
          </ac:spMkLst>
        </pc:spChg>
        <pc:spChg chg="add del mod modVis">
          <ac:chgData name="Aniket Chhabra" userId="598e0514-bef3-4e71-b6aa-f2edd6441cff" providerId="ADAL" clId="{1E0742E9-302E-4BA7-A441-657099638712}" dt="2021-03-30T03:16:50.255" v="5756"/>
          <ac:spMkLst>
            <pc:docMk/>
            <pc:sldMk cId="515159506" sldId="287"/>
            <ac:spMk id="9" creationId="{216CE085-00AA-4DBA-A42A-658E8232C876}"/>
          </ac:spMkLst>
        </pc:spChg>
        <pc:spChg chg="add del mod modVis">
          <ac:chgData name="Aniket Chhabra" userId="598e0514-bef3-4e71-b6aa-f2edd6441cff" providerId="ADAL" clId="{1E0742E9-302E-4BA7-A441-657099638712}" dt="2021-03-30T03:16:53.043" v="5797"/>
          <ac:spMkLst>
            <pc:docMk/>
            <pc:sldMk cId="515159506" sldId="287"/>
            <ac:spMk id="10" creationId="{60BA276E-BEDB-4748-93EA-B24D0E121AC4}"/>
          </ac:spMkLst>
        </pc:spChg>
        <pc:spChg chg="add del mod modVis">
          <ac:chgData name="Aniket Chhabra" userId="598e0514-bef3-4e71-b6aa-f2edd6441cff" providerId="ADAL" clId="{1E0742E9-302E-4BA7-A441-657099638712}" dt="2021-03-30T03:16:57.413" v="5852"/>
          <ac:spMkLst>
            <pc:docMk/>
            <pc:sldMk cId="515159506" sldId="287"/>
            <ac:spMk id="11" creationId="{55A0B3FE-4889-471B-9ABB-0F0ABCF59D13}"/>
          </ac:spMkLst>
        </pc:spChg>
        <pc:spChg chg="add del mod modVis">
          <ac:chgData name="Aniket Chhabra" userId="598e0514-bef3-4e71-b6aa-f2edd6441cff" providerId="ADAL" clId="{1E0742E9-302E-4BA7-A441-657099638712}" dt="2021-03-30T03:16:58.521" v="5894"/>
          <ac:spMkLst>
            <pc:docMk/>
            <pc:sldMk cId="515159506" sldId="287"/>
            <ac:spMk id="12" creationId="{013CEA07-DAAF-49EB-A255-71881DAC19C6}"/>
          </ac:spMkLst>
        </pc:spChg>
        <pc:graphicFrameChg chg="mod">
          <ac:chgData name="Aniket Chhabra" userId="598e0514-bef3-4e71-b6aa-f2edd6441cff" providerId="ADAL" clId="{1E0742E9-302E-4BA7-A441-657099638712}" dt="2021-03-30T03:16:58.525" v="5896"/>
          <ac:graphicFrameMkLst>
            <pc:docMk/>
            <pc:sldMk cId="515159506" sldId="287"/>
            <ac:graphicFrameMk id="3" creationId="{A63E1A11-C8C4-4F72-9CCD-09494558D324}"/>
          </ac:graphicFrameMkLst>
        </pc:graphicFrameChg>
      </pc:sldChg>
      <pc:sldMasterChg chg="del delSldLayout">
        <pc:chgData name="Aniket Chhabra" userId="598e0514-bef3-4e71-b6aa-f2edd6441cff" providerId="ADAL" clId="{1E0742E9-302E-4BA7-A441-657099638712}" dt="2021-03-28T01:32:32.110" v="777" actId="47"/>
        <pc:sldMasterMkLst>
          <pc:docMk/>
          <pc:sldMasterMk cId="2538934257" sldId="2147483672"/>
        </pc:sldMasterMkLst>
        <pc:sldLayoutChg chg="del">
          <pc:chgData name="Aniket Chhabra" userId="598e0514-bef3-4e71-b6aa-f2edd6441cff" providerId="ADAL" clId="{1E0742E9-302E-4BA7-A441-657099638712}" dt="2021-03-28T01:32:32.110" v="777" actId="47"/>
          <pc:sldLayoutMkLst>
            <pc:docMk/>
            <pc:sldMasterMk cId="2538934257" sldId="2147483672"/>
            <pc:sldLayoutMk cId="1149140480" sldId="2147483673"/>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4268364387" sldId="2147483674"/>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3553160353" sldId="2147483675"/>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3961662568" sldId="2147483676"/>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3025448" sldId="2147483677"/>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410174623" sldId="2147483678"/>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3425054570" sldId="2147483679"/>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3962464439" sldId="2147483680"/>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651817617" sldId="2147483681"/>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2308370594" sldId="2147483682"/>
          </pc:sldLayoutMkLst>
        </pc:sldLayoutChg>
        <pc:sldLayoutChg chg="del">
          <pc:chgData name="Aniket Chhabra" userId="598e0514-bef3-4e71-b6aa-f2edd6441cff" providerId="ADAL" clId="{1E0742E9-302E-4BA7-A441-657099638712}" dt="2021-03-28T01:32:32.110" v="777" actId="47"/>
          <pc:sldLayoutMkLst>
            <pc:docMk/>
            <pc:sldMasterMk cId="2538934257" sldId="2147483672"/>
            <pc:sldLayoutMk cId="4014665918" sldId="2147483683"/>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7ADAFD-F708-4847-AAF3-54D15D28B62D}" type="doc">
      <dgm:prSet loTypeId="urn:microsoft.com/office/officeart/2005/8/layout/hierarchy5" loCatId="hierarchy" qsTypeId="urn:microsoft.com/office/officeart/2005/8/quickstyle/simple1" qsCatId="simple" csTypeId="urn:microsoft.com/office/officeart/2005/8/colors/accent1_2" csCatId="accent1" phldr="1"/>
      <dgm:spPr/>
      <dgm:t>
        <a:bodyPr/>
        <a:lstStyle/>
        <a:p>
          <a:endParaRPr lang="en-US"/>
        </a:p>
      </dgm:t>
    </dgm:pt>
    <dgm:pt modelId="{C33BC038-58D3-4256-94E8-A13D2ED1A3D6}">
      <dgm:prSet phldrT="[Text]" custT="1"/>
      <dgm:spPr>
        <a:solidFill>
          <a:schemeClr val="bg2">
            <a:lumMod val="90000"/>
          </a:schemeClr>
        </a:solidFill>
      </dgm:spPr>
      <dgm:t>
        <a:bodyPr/>
        <a:lstStyle/>
        <a:p>
          <a:r>
            <a:rPr lang="en-US" sz="2800" dirty="0">
              <a:solidFill>
                <a:schemeClr val="tx1"/>
              </a:solidFill>
            </a:rPr>
            <a:t>Clustering</a:t>
          </a:r>
        </a:p>
      </dgm:t>
    </dgm:pt>
    <dgm:pt modelId="{9BD0C27B-7ED8-4F6E-88AD-4C5A97C9342A}" type="parTrans" cxnId="{D80D1A2A-67F5-4B24-BA53-B588302B6D1F}">
      <dgm:prSet/>
      <dgm:spPr/>
      <dgm:t>
        <a:bodyPr/>
        <a:lstStyle/>
        <a:p>
          <a:endParaRPr lang="en-US"/>
        </a:p>
      </dgm:t>
    </dgm:pt>
    <dgm:pt modelId="{3DF56841-875F-46B2-B89A-E7B65D6200FD}" type="sibTrans" cxnId="{D80D1A2A-67F5-4B24-BA53-B588302B6D1F}">
      <dgm:prSet/>
      <dgm:spPr/>
      <dgm:t>
        <a:bodyPr/>
        <a:lstStyle/>
        <a:p>
          <a:endParaRPr lang="en-US"/>
        </a:p>
      </dgm:t>
    </dgm:pt>
    <dgm:pt modelId="{5729DFB0-61AF-4F0F-919E-DF9890CDFFAB}">
      <dgm:prSet phldrT="[Text]" custT="1"/>
      <dgm:spPr>
        <a:solidFill>
          <a:srgbClr val="E7E6E6">
            <a:lumMod val="90000"/>
          </a:srgbClr>
        </a:solidFill>
        <a:ln w="12700" cap="flat" cmpd="sng" algn="ctr">
          <a:solidFill>
            <a:prstClr val="white">
              <a:hueOff val="0"/>
              <a:satOff val="0"/>
              <a:lumOff val="0"/>
              <a:alphaOff val="0"/>
            </a:prstClr>
          </a:solidFill>
          <a:prstDash val="solid"/>
          <a:miter lim="800000"/>
        </a:ln>
        <a:effectLst/>
      </dgm:spPr>
      <dgm:t>
        <a:bodyPr spcFirstLastPara="0" vert="horz" wrap="square" lIns="17780" tIns="17780" rIns="17780" bIns="17780" numCol="1" spcCol="1270" anchor="ctr" anchorCtr="0"/>
        <a:lstStyle/>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Hierarchical</a:t>
          </a:r>
        </a:p>
      </dgm:t>
    </dgm:pt>
    <dgm:pt modelId="{AE4F0D19-A105-462F-88D4-9AE8824EDCF0}" type="parTrans" cxnId="{CFC7DEC4-1975-4E25-837D-BF733E9EA659}">
      <dgm:prSet/>
      <dgm:spPr/>
      <dgm:t>
        <a:bodyPr/>
        <a:lstStyle/>
        <a:p>
          <a:endParaRPr lang="en-US"/>
        </a:p>
      </dgm:t>
    </dgm:pt>
    <dgm:pt modelId="{FDE034FA-7BF1-4BD7-9798-55608D67CE98}" type="sibTrans" cxnId="{CFC7DEC4-1975-4E25-837D-BF733E9EA659}">
      <dgm:prSet/>
      <dgm:spPr/>
      <dgm:t>
        <a:bodyPr/>
        <a:lstStyle/>
        <a:p>
          <a:endParaRPr lang="en-US"/>
        </a:p>
      </dgm:t>
    </dgm:pt>
    <dgm:pt modelId="{15ACD3A6-660A-4F7A-B5AE-A765DB91EDA8}">
      <dgm:prSet phldrT="[Text]" custT="1"/>
      <dgm:spPr>
        <a:solidFill>
          <a:srgbClr val="E7E6E6">
            <a:lumMod val="90000"/>
          </a:srgbClr>
        </a:solidFill>
        <a:ln w="12700" cap="flat" cmpd="sng" algn="ctr">
          <a:solidFill>
            <a:prstClr val="white">
              <a:hueOff val="0"/>
              <a:satOff val="0"/>
              <a:lumOff val="0"/>
              <a:alphaOff val="0"/>
            </a:prstClr>
          </a:solidFill>
          <a:prstDash val="solid"/>
          <a:miter lim="800000"/>
        </a:ln>
        <a:effectLst/>
      </dgm:spPr>
      <dgm:t>
        <a:bodyPr spcFirstLastPara="0" vert="horz" wrap="square" lIns="17780" tIns="17780" rIns="17780" bIns="17780" numCol="1" spcCol="1270" anchor="ctr" anchorCtr="0"/>
        <a:lstStyle/>
        <a:p>
          <a:r>
            <a:rPr lang="en-US" sz="2000" kern="1200" dirty="0">
              <a:solidFill>
                <a:prstClr val="black"/>
              </a:solidFill>
              <a:latin typeface="Calibri" panose="020F0502020204030204"/>
              <a:ea typeface="+mn-ea"/>
              <a:cs typeface="+mn-cs"/>
            </a:rPr>
            <a:t>Agglomerative</a:t>
          </a:r>
        </a:p>
      </dgm:t>
    </dgm:pt>
    <dgm:pt modelId="{02792C1A-668E-41F6-A9EF-1DB5CA7D1D20}" type="parTrans" cxnId="{1E6A7637-34F8-49DB-B758-B213D555BBFB}">
      <dgm:prSet/>
      <dgm:spPr/>
      <dgm:t>
        <a:bodyPr/>
        <a:lstStyle/>
        <a:p>
          <a:endParaRPr lang="en-US"/>
        </a:p>
      </dgm:t>
    </dgm:pt>
    <dgm:pt modelId="{F34FE357-9147-4659-B327-511A47540791}" type="sibTrans" cxnId="{1E6A7637-34F8-49DB-B758-B213D555BBFB}">
      <dgm:prSet/>
      <dgm:spPr/>
      <dgm:t>
        <a:bodyPr/>
        <a:lstStyle/>
        <a:p>
          <a:endParaRPr lang="en-US"/>
        </a:p>
      </dgm:t>
    </dgm:pt>
    <dgm:pt modelId="{B0366A8B-E09B-46FD-A555-FEAD0F331B04}">
      <dgm:prSet phldrT="[Text]" custT="1"/>
      <dgm:spPr>
        <a:solidFill>
          <a:srgbClr val="E7E6E6">
            <a:lumMod val="90000"/>
          </a:srgbClr>
        </a:solidFill>
        <a:ln w="12700" cap="flat" cmpd="sng" algn="ctr">
          <a:solidFill>
            <a:prstClr val="white">
              <a:hueOff val="0"/>
              <a:satOff val="0"/>
              <a:lumOff val="0"/>
              <a:alphaOff val="0"/>
            </a:prstClr>
          </a:solidFill>
          <a:prstDash val="solid"/>
          <a:miter lim="800000"/>
        </a:ln>
        <a:effectLst/>
      </dgm:spPr>
      <dgm:t>
        <a:bodyPr spcFirstLastPara="0" vert="horz" wrap="square" lIns="17780" tIns="17780" rIns="17780" bIns="17780" numCol="1" spcCol="1270" anchor="ctr" anchorCtr="0"/>
        <a:lstStyle/>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Divisive</a:t>
          </a:r>
        </a:p>
      </dgm:t>
    </dgm:pt>
    <dgm:pt modelId="{22EDE281-8B62-433D-B772-F7EA9B813A1E}" type="parTrans" cxnId="{7DD4AAAE-F31E-47BD-B8DB-35EDE8B43961}">
      <dgm:prSet/>
      <dgm:spPr/>
      <dgm:t>
        <a:bodyPr/>
        <a:lstStyle/>
        <a:p>
          <a:endParaRPr lang="en-US"/>
        </a:p>
      </dgm:t>
    </dgm:pt>
    <dgm:pt modelId="{05F64C55-4AF9-442D-BE1D-87619D148CA4}" type="sibTrans" cxnId="{7DD4AAAE-F31E-47BD-B8DB-35EDE8B43961}">
      <dgm:prSet/>
      <dgm:spPr/>
      <dgm:t>
        <a:bodyPr/>
        <a:lstStyle/>
        <a:p>
          <a:endParaRPr lang="en-US"/>
        </a:p>
      </dgm:t>
    </dgm:pt>
    <dgm:pt modelId="{A0ACE531-CFC4-4F0B-AABF-A7C9E7516C49}">
      <dgm:prSet phldrT="[Text]" custT="1"/>
      <dgm:spPr>
        <a:solidFill>
          <a:srgbClr val="E7E6E6">
            <a:lumMod val="90000"/>
          </a:srgbClr>
        </a:solidFill>
        <a:ln w="12700" cap="flat" cmpd="sng" algn="ctr">
          <a:solidFill>
            <a:prstClr val="white">
              <a:hueOff val="0"/>
              <a:satOff val="0"/>
              <a:lumOff val="0"/>
              <a:alphaOff val="0"/>
            </a:prstClr>
          </a:solidFill>
          <a:prstDash val="solid"/>
          <a:miter lim="800000"/>
        </a:ln>
        <a:effectLst/>
      </dgm:spPr>
      <dgm:t>
        <a:bodyPr spcFirstLastPara="0" vert="horz" wrap="square" lIns="17780" tIns="17780" rIns="17780" bIns="17780" numCol="1" spcCol="1270" anchor="ctr" anchorCtr="0"/>
        <a:lstStyle/>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Partitioning</a:t>
          </a:r>
        </a:p>
      </dgm:t>
    </dgm:pt>
    <dgm:pt modelId="{C38B1706-744D-4150-8401-A3991354A4EA}" type="parTrans" cxnId="{C8C55862-045C-42BB-B12F-98E21C6C7949}">
      <dgm:prSet/>
      <dgm:spPr/>
      <dgm:t>
        <a:bodyPr/>
        <a:lstStyle/>
        <a:p>
          <a:endParaRPr lang="en-US"/>
        </a:p>
      </dgm:t>
    </dgm:pt>
    <dgm:pt modelId="{0155D494-33E6-4DF7-B81B-5AF8A6885146}" type="sibTrans" cxnId="{C8C55862-045C-42BB-B12F-98E21C6C7949}">
      <dgm:prSet/>
      <dgm:spPr/>
      <dgm:t>
        <a:bodyPr/>
        <a:lstStyle/>
        <a:p>
          <a:endParaRPr lang="en-US"/>
        </a:p>
      </dgm:t>
    </dgm:pt>
    <dgm:pt modelId="{02764C81-EB09-40A2-9A4B-58625282AEE2}">
      <dgm:prSet phldrT="[Text]" custT="1"/>
      <dgm:spPr>
        <a:solidFill>
          <a:srgbClr val="E7E6E6">
            <a:lumMod val="90000"/>
          </a:srgbClr>
        </a:solidFill>
        <a:ln w="12700" cap="flat" cmpd="sng" algn="ctr">
          <a:solidFill>
            <a:prstClr val="white">
              <a:hueOff val="0"/>
              <a:satOff val="0"/>
              <a:lumOff val="0"/>
              <a:alphaOff val="0"/>
            </a:prstClr>
          </a:solidFill>
          <a:prstDash val="solid"/>
          <a:miter lim="800000"/>
        </a:ln>
        <a:effectLst/>
      </dgm:spPr>
      <dgm:t>
        <a:bodyPr spcFirstLastPara="0" vert="horz" wrap="square" lIns="17780" tIns="17780" rIns="17780" bIns="17780" numCol="1" spcCol="1270" anchor="ctr" anchorCtr="0"/>
        <a:lstStyle/>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K-Means/Medoids</a:t>
          </a:r>
        </a:p>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Mode</a:t>
          </a:r>
        </a:p>
      </dgm:t>
    </dgm:pt>
    <dgm:pt modelId="{3404695B-C7B5-49B1-BFD3-88236DD841DF}" type="parTrans" cxnId="{410382D6-18E1-49E8-89F0-06404FB91E5D}">
      <dgm:prSet/>
      <dgm:spPr/>
      <dgm:t>
        <a:bodyPr/>
        <a:lstStyle/>
        <a:p>
          <a:endParaRPr lang="en-US"/>
        </a:p>
      </dgm:t>
    </dgm:pt>
    <dgm:pt modelId="{39BA79D2-763B-44E4-90D2-48B4C5C6E537}" type="sibTrans" cxnId="{410382D6-18E1-49E8-89F0-06404FB91E5D}">
      <dgm:prSet/>
      <dgm:spPr/>
      <dgm:t>
        <a:bodyPr/>
        <a:lstStyle/>
        <a:p>
          <a:endParaRPr lang="en-US"/>
        </a:p>
      </dgm:t>
    </dgm:pt>
    <dgm:pt modelId="{22D96BCE-D06B-4227-BB19-FAB9A6DA2B2A}" type="pres">
      <dgm:prSet presAssocID="{F57ADAFD-F708-4847-AAF3-54D15D28B62D}" presName="mainComposite" presStyleCnt="0">
        <dgm:presLayoutVars>
          <dgm:chPref val="1"/>
          <dgm:dir/>
          <dgm:animOne val="branch"/>
          <dgm:animLvl val="lvl"/>
          <dgm:resizeHandles val="exact"/>
        </dgm:presLayoutVars>
      </dgm:prSet>
      <dgm:spPr/>
    </dgm:pt>
    <dgm:pt modelId="{A2F75043-3135-45E7-BF54-371CC0B436BC}" type="pres">
      <dgm:prSet presAssocID="{F57ADAFD-F708-4847-AAF3-54D15D28B62D}" presName="hierFlow" presStyleCnt="0"/>
      <dgm:spPr/>
    </dgm:pt>
    <dgm:pt modelId="{15275AB7-1219-4F03-827A-5E46ADD5EF11}" type="pres">
      <dgm:prSet presAssocID="{F57ADAFD-F708-4847-AAF3-54D15D28B62D}" presName="hierChild1" presStyleCnt="0">
        <dgm:presLayoutVars>
          <dgm:chPref val="1"/>
          <dgm:animOne val="branch"/>
          <dgm:animLvl val="lvl"/>
        </dgm:presLayoutVars>
      </dgm:prSet>
      <dgm:spPr/>
    </dgm:pt>
    <dgm:pt modelId="{3FB4C2FB-F561-467B-9D08-3E30593D7229}" type="pres">
      <dgm:prSet presAssocID="{C33BC038-58D3-4256-94E8-A13D2ED1A3D6}" presName="Name17" presStyleCnt="0"/>
      <dgm:spPr/>
    </dgm:pt>
    <dgm:pt modelId="{FBE9BF22-8D55-47F2-A11D-80F923A59AB1}" type="pres">
      <dgm:prSet presAssocID="{C33BC038-58D3-4256-94E8-A13D2ED1A3D6}" presName="level1Shape" presStyleLbl="node0" presStyleIdx="0" presStyleCnt="1">
        <dgm:presLayoutVars>
          <dgm:chPref val="3"/>
        </dgm:presLayoutVars>
      </dgm:prSet>
      <dgm:spPr/>
    </dgm:pt>
    <dgm:pt modelId="{4212F382-DFC3-4807-95E5-B981EBDBE8B9}" type="pres">
      <dgm:prSet presAssocID="{C33BC038-58D3-4256-94E8-A13D2ED1A3D6}" presName="hierChild2" presStyleCnt="0"/>
      <dgm:spPr/>
    </dgm:pt>
    <dgm:pt modelId="{C2A3760E-799D-4B75-B76A-F6BE0D61297B}" type="pres">
      <dgm:prSet presAssocID="{AE4F0D19-A105-462F-88D4-9AE8824EDCF0}" presName="Name25" presStyleLbl="parChTrans1D2" presStyleIdx="0" presStyleCnt="2"/>
      <dgm:spPr/>
    </dgm:pt>
    <dgm:pt modelId="{A65B9CED-A9AA-4347-B041-3BFBBB9EFBD8}" type="pres">
      <dgm:prSet presAssocID="{AE4F0D19-A105-462F-88D4-9AE8824EDCF0}" presName="connTx" presStyleLbl="parChTrans1D2" presStyleIdx="0" presStyleCnt="2"/>
      <dgm:spPr/>
    </dgm:pt>
    <dgm:pt modelId="{C393C744-DD5C-4ED0-B286-65CB402F5EF1}" type="pres">
      <dgm:prSet presAssocID="{5729DFB0-61AF-4F0F-919E-DF9890CDFFAB}" presName="Name30" presStyleCnt="0"/>
      <dgm:spPr/>
    </dgm:pt>
    <dgm:pt modelId="{F0D1B6CD-9FC8-4FD6-8630-92B1164CACD5}" type="pres">
      <dgm:prSet presAssocID="{5729DFB0-61AF-4F0F-919E-DF9890CDFFAB}" presName="level2Shape" presStyleLbl="node2" presStyleIdx="0" presStyleCnt="2"/>
      <dgm:spPr>
        <a:xfrm>
          <a:off x="4185297" y="1040282"/>
          <a:ext cx="2986629" cy="1493314"/>
        </a:xfrm>
        <a:prstGeom prst="roundRect">
          <a:avLst>
            <a:gd name="adj" fmla="val 10000"/>
          </a:avLst>
        </a:prstGeom>
      </dgm:spPr>
    </dgm:pt>
    <dgm:pt modelId="{9520D31F-B54C-4DC9-963C-6780A1BD99AA}" type="pres">
      <dgm:prSet presAssocID="{5729DFB0-61AF-4F0F-919E-DF9890CDFFAB}" presName="hierChild3" presStyleCnt="0"/>
      <dgm:spPr/>
    </dgm:pt>
    <dgm:pt modelId="{5B6E1098-30C3-47D0-A3B0-4E1B0074F2EE}" type="pres">
      <dgm:prSet presAssocID="{02792C1A-668E-41F6-A9EF-1DB5CA7D1D20}" presName="Name25" presStyleLbl="parChTrans1D3" presStyleIdx="0" presStyleCnt="3"/>
      <dgm:spPr/>
    </dgm:pt>
    <dgm:pt modelId="{A887963B-91F4-4B55-827D-8FC3AFB5E12E}" type="pres">
      <dgm:prSet presAssocID="{02792C1A-668E-41F6-A9EF-1DB5CA7D1D20}" presName="connTx" presStyleLbl="parChTrans1D3" presStyleIdx="0" presStyleCnt="3"/>
      <dgm:spPr/>
    </dgm:pt>
    <dgm:pt modelId="{8CD2BD0F-C46D-486C-A0AC-927B313DB08B}" type="pres">
      <dgm:prSet presAssocID="{15ACD3A6-660A-4F7A-B5AE-A765DB91EDA8}" presName="Name30" presStyleCnt="0"/>
      <dgm:spPr/>
    </dgm:pt>
    <dgm:pt modelId="{679E5392-FCB5-444D-AA3A-E953D230680E}" type="pres">
      <dgm:prSet presAssocID="{15ACD3A6-660A-4F7A-B5AE-A765DB91EDA8}" presName="level2Shape" presStyleLbl="node3" presStyleIdx="0" presStyleCnt="3"/>
      <dgm:spPr>
        <a:xfrm>
          <a:off x="8366578" y="181626"/>
          <a:ext cx="2986629" cy="1493314"/>
        </a:xfrm>
        <a:prstGeom prst="roundRect">
          <a:avLst>
            <a:gd name="adj" fmla="val 10000"/>
          </a:avLst>
        </a:prstGeom>
      </dgm:spPr>
    </dgm:pt>
    <dgm:pt modelId="{785F01AE-E082-4127-9F90-4E84B5470CB6}" type="pres">
      <dgm:prSet presAssocID="{15ACD3A6-660A-4F7A-B5AE-A765DB91EDA8}" presName="hierChild3" presStyleCnt="0"/>
      <dgm:spPr/>
    </dgm:pt>
    <dgm:pt modelId="{605F8E05-0FA7-4107-8D50-B0AA8FD9A979}" type="pres">
      <dgm:prSet presAssocID="{22EDE281-8B62-433D-B772-F7EA9B813A1E}" presName="Name25" presStyleLbl="parChTrans1D3" presStyleIdx="1" presStyleCnt="3"/>
      <dgm:spPr/>
    </dgm:pt>
    <dgm:pt modelId="{326D5D41-19EC-40DA-8B9F-DEEF7DF94EEF}" type="pres">
      <dgm:prSet presAssocID="{22EDE281-8B62-433D-B772-F7EA9B813A1E}" presName="connTx" presStyleLbl="parChTrans1D3" presStyleIdx="1" presStyleCnt="3"/>
      <dgm:spPr/>
    </dgm:pt>
    <dgm:pt modelId="{87A9BAAB-0E9A-4AA0-B9C0-1B1598D33C07}" type="pres">
      <dgm:prSet presAssocID="{B0366A8B-E09B-46FD-A555-FEAD0F331B04}" presName="Name30" presStyleCnt="0"/>
      <dgm:spPr/>
    </dgm:pt>
    <dgm:pt modelId="{204E0BD8-7F32-46BE-A7DA-CBAC0FDFB6D9}" type="pres">
      <dgm:prSet presAssocID="{B0366A8B-E09B-46FD-A555-FEAD0F331B04}" presName="level2Shape" presStyleLbl="node3" presStyleIdx="1" presStyleCnt="3"/>
      <dgm:spPr>
        <a:xfrm>
          <a:off x="8366578" y="1898938"/>
          <a:ext cx="2986629" cy="1493314"/>
        </a:xfrm>
        <a:prstGeom prst="roundRect">
          <a:avLst>
            <a:gd name="adj" fmla="val 10000"/>
          </a:avLst>
        </a:prstGeom>
      </dgm:spPr>
    </dgm:pt>
    <dgm:pt modelId="{19407BAD-35C7-43C0-89DB-3183CBDD6BFC}" type="pres">
      <dgm:prSet presAssocID="{B0366A8B-E09B-46FD-A555-FEAD0F331B04}" presName="hierChild3" presStyleCnt="0"/>
      <dgm:spPr/>
    </dgm:pt>
    <dgm:pt modelId="{7750FD01-DD91-4751-8381-8962D262F082}" type="pres">
      <dgm:prSet presAssocID="{C38B1706-744D-4150-8401-A3991354A4EA}" presName="Name25" presStyleLbl="parChTrans1D2" presStyleIdx="1" presStyleCnt="2"/>
      <dgm:spPr/>
    </dgm:pt>
    <dgm:pt modelId="{BF1E84ED-2A38-4821-8183-B11EAEB3BBF8}" type="pres">
      <dgm:prSet presAssocID="{C38B1706-744D-4150-8401-A3991354A4EA}" presName="connTx" presStyleLbl="parChTrans1D2" presStyleIdx="1" presStyleCnt="2"/>
      <dgm:spPr/>
    </dgm:pt>
    <dgm:pt modelId="{F162599D-FF37-44A3-A0F2-AF79A98E11DB}" type="pres">
      <dgm:prSet presAssocID="{A0ACE531-CFC4-4F0B-AABF-A7C9E7516C49}" presName="Name30" presStyleCnt="0"/>
      <dgm:spPr/>
    </dgm:pt>
    <dgm:pt modelId="{B511924B-E25F-4C38-812C-78D67FC5EEF6}" type="pres">
      <dgm:prSet presAssocID="{A0ACE531-CFC4-4F0B-AABF-A7C9E7516C49}" presName="level2Shape" presStyleLbl="node2" presStyleIdx="1" presStyleCnt="2"/>
      <dgm:spPr>
        <a:xfrm>
          <a:off x="4185297" y="3616250"/>
          <a:ext cx="2986629" cy="1493314"/>
        </a:xfrm>
        <a:prstGeom prst="roundRect">
          <a:avLst>
            <a:gd name="adj" fmla="val 10000"/>
          </a:avLst>
        </a:prstGeom>
      </dgm:spPr>
    </dgm:pt>
    <dgm:pt modelId="{78CB9C2D-A42B-4449-BDB6-2DEC45A9A28A}" type="pres">
      <dgm:prSet presAssocID="{A0ACE531-CFC4-4F0B-AABF-A7C9E7516C49}" presName="hierChild3" presStyleCnt="0"/>
      <dgm:spPr/>
    </dgm:pt>
    <dgm:pt modelId="{37F7F0B8-7378-42F5-A492-143F34F1B60F}" type="pres">
      <dgm:prSet presAssocID="{3404695B-C7B5-49B1-BFD3-88236DD841DF}" presName="Name25" presStyleLbl="parChTrans1D3" presStyleIdx="2" presStyleCnt="3"/>
      <dgm:spPr/>
    </dgm:pt>
    <dgm:pt modelId="{E6C2C26E-FE60-4739-A502-350E3B5DD1CE}" type="pres">
      <dgm:prSet presAssocID="{3404695B-C7B5-49B1-BFD3-88236DD841DF}" presName="connTx" presStyleLbl="parChTrans1D3" presStyleIdx="2" presStyleCnt="3"/>
      <dgm:spPr/>
    </dgm:pt>
    <dgm:pt modelId="{8D460069-483D-4B08-9F3E-D471BB02E6E5}" type="pres">
      <dgm:prSet presAssocID="{02764C81-EB09-40A2-9A4B-58625282AEE2}" presName="Name30" presStyleCnt="0"/>
      <dgm:spPr/>
    </dgm:pt>
    <dgm:pt modelId="{0D37A91D-C5F2-4F1B-B715-2C98AEF2FE64}" type="pres">
      <dgm:prSet presAssocID="{02764C81-EB09-40A2-9A4B-58625282AEE2}" presName="level2Shape" presStyleLbl="node3" presStyleIdx="2" presStyleCnt="3"/>
      <dgm:spPr>
        <a:xfrm>
          <a:off x="8366578" y="3616250"/>
          <a:ext cx="2986629" cy="1493314"/>
        </a:xfrm>
        <a:prstGeom prst="roundRect">
          <a:avLst>
            <a:gd name="adj" fmla="val 10000"/>
          </a:avLst>
        </a:prstGeom>
      </dgm:spPr>
    </dgm:pt>
    <dgm:pt modelId="{75350AB1-5DD0-49B7-BF43-AF5FE75F6A23}" type="pres">
      <dgm:prSet presAssocID="{02764C81-EB09-40A2-9A4B-58625282AEE2}" presName="hierChild3" presStyleCnt="0"/>
      <dgm:spPr/>
    </dgm:pt>
    <dgm:pt modelId="{2BC93F0A-BA19-4951-A4CA-5548AC4C4A47}" type="pres">
      <dgm:prSet presAssocID="{F57ADAFD-F708-4847-AAF3-54D15D28B62D}" presName="bgShapesFlow" presStyleCnt="0"/>
      <dgm:spPr/>
    </dgm:pt>
  </dgm:ptLst>
  <dgm:cxnLst>
    <dgm:cxn modelId="{B98D320E-8D5D-4C80-BC62-40A308FF69D0}" type="presOf" srcId="{22EDE281-8B62-433D-B772-F7EA9B813A1E}" destId="{605F8E05-0FA7-4107-8D50-B0AA8FD9A979}" srcOrd="0" destOrd="0" presId="urn:microsoft.com/office/officeart/2005/8/layout/hierarchy5"/>
    <dgm:cxn modelId="{D80D1A2A-67F5-4B24-BA53-B588302B6D1F}" srcId="{F57ADAFD-F708-4847-AAF3-54D15D28B62D}" destId="{C33BC038-58D3-4256-94E8-A13D2ED1A3D6}" srcOrd="0" destOrd="0" parTransId="{9BD0C27B-7ED8-4F6E-88AD-4C5A97C9342A}" sibTransId="{3DF56841-875F-46B2-B89A-E7B65D6200FD}"/>
    <dgm:cxn modelId="{0AFE3A2E-A00B-4C2F-A555-FB1B2B1E5FC3}" type="presOf" srcId="{22EDE281-8B62-433D-B772-F7EA9B813A1E}" destId="{326D5D41-19EC-40DA-8B9F-DEEF7DF94EEF}" srcOrd="1" destOrd="0" presId="urn:microsoft.com/office/officeart/2005/8/layout/hierarchy5"/>
    <dgm:cxn modelId="{AABD4031-718C-48EA-B7D5-26E643329299}" type="presOf" srcId="{02764C81-EB09-40A2-9A4B-58625282AEE2}" destId="{0D37A91D-C5F2-4F1B-B715-2C98AEF2FE64}" srcOrd="0" destOrd="0" presId="urn:microsoft.com/office/officeart/2005/8/layout/hierarchy5"/>
    <dgm:cxn modelId="{187EC832-1646-4586-8EF4-F56416CCD90C}" type="presOf" srcId="{02792C1A-668E-41F6-A9EF-1DB5CA7D1D20}" destId="{5B6E1098-30C3-47D0-A3B0-4E1B0074F2EE}" srcOrd="0" destOrd="0" presId="urn:microsoft.com/office/officeart/2005/8/layout/hierarchy5"/>
    <dgm:cxn modelId="{1E6A7637-34F8-49DB-B758-B213D555BBFB}" srcId="{5729DFB0-61AF-4F0F-919E-DF9890CDFFAB}" destId="{15ACD3A6-660A-4F7A-B5AE-A765DB91EDA8}" srcOrd="0" destOrd="0" parTransId="{02792C1A-668E-41F6-A9EF-1DB5CA7D1D20}" sibTransId="{F34FE357-9147-4659-B327-511A47540791}"/>
    <dgm:cxn modelId="{C8C55862-045C-42BB-B12F-98E21C6C7949}" srcId="{C33BC038-58D3-4256-94E8-A13D2ED1A3D6}" destId="{A0ACE531-CFC4-4F0B-AABF-A7C9E7516C49}" srcOrd="1" destOrd="0" parTransId="{C38B1706-744D-4150-8401-A3991354A4EA}" sibTransId="{0155D494-33E6-4DF7-B81B-5AF8A6885146}"/>
    <dgm:cxn modelId="{6B0C1564-794A-4975-A9F8-F2E49DA9224E}" type="presOf" srcId="{F57ADAFD-F708-4847-AAF3-54D15D28B62D}" destId="{22D96BCE-D06B-4227-BB19-FAB9A6DA2B2A}" srcOrd="0" destOrd="0" presId="urn:microsoft.com/office/officeart/2005/8/layout/hierarchy5"/>
    <dgm:cxn modelId="{41B34764-797F-4710-8685-9CA9C0267573}" type="presOf" srcId="{B0366A8B-E09B-46FD-A555-FEAD0F331B04}" destId="{204E0BD8-7F32-46BE-A7DA-CBAC0FDFB6D9}" srcOrd="0" destOrd="0" presId="urn:microsoft.com/office/officeart/2005/8/layout/hierarchy5"/>
    <dgm:cxn modelId="{A6D8D847-0AD4-421A-9EBF-6B6C1446338F}" type="presOf" srcId="{3404695B-C7B5-49B1-BFD3-88236DD841DF}" destId="{37F7F0B8-7378-42F5-A492-143F34F1B60F}" srcOrd="0" destOrd="0" presId="urn:microsoft.com/office/officeart/2005/8/layout/hierarchy5"/>
    <dgm:cxn modelId="{E4E7478B-CBCC-4110-8FC2-6EC511B592D1}" type="presOf" srcId="{5729DFB0-61AF-4F0F-919E-DF9890CDFFAB}" destId="{F0D1B6CD-9FC8-4FD6-8630-92B1164CACD5}" srcOrd="0" destOrd="0" presId="urn:microsoft.com/office/officeart/2005/8/layout/hierarchy5"/>
    <dgm:cxn modelId="{63143AA3-3768-46F9-8781-7DE25CEDEE24}" type="presOf" srcId="{02792C1A-668E-41F6-A9EF-1DB5CA7D1D20}" destId="{A887963B-91F4-4B55-827D-8FC3AFB5E12E}" srcOrd="1" destOrd="0" presId="urn:microsoft.com/office/officeart/2005/8/layout/hierarchy5"/>
    <dgm:cxn modelId="{14E4CAA7-69CC-4910-BBD0-395E7519B644}" type="presOf" srcId="{A0ACE531-CFC4-4F0B-AABF-A7C9E7516C49}" destId="{B511924B-E25F-4C38-812C-78D67FC5EEF6}" srcOrd="0" destOrd="0" presId="urn:microsoft.com/office/officeart/2005/8/layout/hierarchy5"/>
    <dgm:cxn modelId="{AFFFF3A9-7ADD-4F84-AD7B-48921855FA4B}" type="presOf" srcId="{C33BC038-58D3-4256-94E8-A13D2ED1A3D6}" destId="{FBE9BF22-8D55-47F2-A11D-80F923A59AB1}" srcOrd="0" destOrd="0" presId="urn:microsoft.com/office/officeart/2005/8/layout/hierarchy5"/>
    <dgm:cxn modelId="{7DD4AAAE-F31E-47BD-B8DB-35EDE8B43961}" srcId="{5729DFB0-61AF-4F0F-919E-DF9890CDFFAB}" destId="{B0366A8B-E09B-46FD-A555-FEAD0F331B04}" srcOrd="1" destOrd="0" parTransId="{22EDE281-8B62-433D-B772-F7EA9B813A1E}" sibTransId="{05F64C55-4AF9-442D-BE1D-87619D148CA4}"/>
    <dgm:cxn modelId="{1FFF88BE-3652-4190-83A2-CAD72FD0398B}" type="presOf" srcId="{3404695B-C7B5-49B1-BFD3-88236DD841DF}" destId="{E6C2C26E-FE60-4739-A502-350E3B5DD1CE}" srcOrd="1" destOrd="0" presId="urn:microsoft.com/office/officeart/2005/8/layout/hierarchy5"/>
    <dgm:cxn modelId="{DE8E02C3-F8F5-48A3-A293-74924E6AD1D5}" type="presOf" srcId="{15ACD3A6-660A-4F7A-B5AE-A765DB91EDA8}" destId="{679E5392-FCB5-444D-AA3A-E953D230680E}" srcOrd="0" destOrd="0" presId="urn:microsoft.com/office/officeart/2005/8/layout/hierarchy5"/>
    <dgm:cxn modelId="{CFC7DEC4-1975-4E25-837D-BF733E9EA659}" srcId="{C33BC038-58D3-4256-94E8-A13D2ED1A3D6}" destId="{5729DFB0-61AF-4F0F-919E-DF9890CDFFAB}" srcOrd="0" destOrd="0" parTransId="{AE4F0D19-A105-462F-88D4-9AE8824EDCF0}" sibTransId="{FDE034FA-7BF1-4BD7-9798-55608D67CE98}"/>
    <dgm:cxn modelId="{223CE8CB-61AC-48D9-AF1F-D2E61F8FFE5D}" type="presOf" srcId="{C38B1706-744D-4150-8401-A3991354A4EA}" destId="{7750FD01-DD91-4751-8381-8962D262F082}" srcOrd="0" destOrd="0" presId="urn:microsoft.com/office/officeart/2005/8/layout/hierarchy5"/>
    <dgm:cxn modelId="{410382D6-18E1-49E8-89F0-06404FB91E5D}" srcId="{A0ACE531-CFC4-4F0B-AABF-A7C9E7516C49}" destId="{02764C81-EB09-40A2-9A4B-58625282AEE2}" srcOrd="0" destOrd="0" parTransId="{3404695B-C7B5-49B1-BFD3-88236DD841DF}" sibTransId="{39BA79D2-763B-44E4-90D2-48B4C5C6E537}"/>
    <dgm:cxn modelId="{47E4C6E8-1DB1-439E-8ADE-B3F14060155F}" type="presOf" srcId="{AE4F0D19-A105-462F-88D4-9AE8824EDCF0}" destId="{A65B9CED-A9AA-4347-B041-3BFBBB9EFBD8}" srcOrd="1" destOrd="0" presId="urn:microsoft.com/office/officeart/2005/8/layout/hierarchy5"/>
    <dgm:cxn modelId="{E3BA46F2-A934-4C16-99BD-02E5EDBA44FE}" type="presOf" srcId="{AE4F0D19-A105-462F-88D4-9AE8824EDCF0}" destId="{C2A3760E-799D-4B75-B76A-F6BE0D61297B}" srcOrd="0" destOrd="0" presId="urn:microsoft.com/office/officeart/2005/8/layout/hierarchy5"/>
    <dgm:cxn modelId="{D095C2F4-4EA7-44B7-B1B6-87CCF721D444}" type="presOf" srcId="{C38B1706-744D-4150-8401-A3991354A4EA}" destId="{BF1E84ED-2A38-4821-8183-B11EAEB3BBF8}" srcOrd="1" destOrd="0" presId="urn:microsoft.com/office/officeart/2005/8/layout/hierarchy5"/>
    <dgm:cxn modelId="{5FCD58A9-22A1-46CE-8DFD-E0854BF3E40B}" type="presParOf" srcId="{22D96BCE-D06B-4227-BB19-FAB9A6DA2B2A}" destId="{A2F75043-3135-45E7-BF54-371CC0B436BC}" srcOrd="0" destOrd="0" presId="urn:microsoft.com/office/officeart/2005/8/layout/hierarchy5"/>
    <dgm:cxn modelId="{4E30A65C-6B17-4346-B8B3-5808D40D9657}" type="presParOf" srcId="{A2F75043-3135-45E7-BF54-371CC0B436BC}" destId="{15275AB7-1219-4F03-827A-5E46ADD5EF11}" srcOrd="0" destOrd="0" presId="urn:microsoft.com/office/officeart/2005/8/layout/hierarchy5"/>
    <dgm:cxn modelId="{48FD5893-BBE5-473C-B2B8-4F2C67218769}" type="presParOf" srcId="{15275AB7-1219-4F03-827A-5E46ADD5EF11}" destId="{3FB4C2FB-F561-467B-9D08-3E30593D7229}" srcOrd="0" destOrd="0" presId="urn:microsoft.com/office/officeart/2005/8/layout/hierarchy5"/>
    <dgm:cxn modelId="{D1B003F6-8631-4631-B85D-9EB1B8ADB1B4}" type="presParOf" srcId="{3FB4C2FB-F561-467B-9D08-3E30593D7229}" destId="{FBE9BF22-8D55-47F2-A11D-80F923A59AB1}" srcOrd="0" destOrd="0" presId="urn:microsoft.com/office/officeart/2005/8/layout/hierarchy5"/>
    <dgm:cxn modelId="{6EB62FED-4135-4160-BF26-C823E7146FA4}" type="presParOf" srcId="{3FB4C2FB-F561-467B-9D08-3E30593D7229}" destId="{4212F382-DFC3-4807-95E5-B981EBDBE8B9}" srcOrd="1" destOrd="0" presId="urn:microsoft.com/office/officeart/2005/8/layout/hierarchy5"/>
    <dgm:cxn modelId="{C341140C-D733-420D-AAA2-2AD2A969C950}" type="presParOf" srcId="{4212F382-DFC3-4807-95E5-B981EBDBE8B9}" destId="{C2A3760E-799D-4B75-B76A-F6BE0D61297B}" srcOrd="0" destOrd="0" presId="urn:microsoft.com/office/officeart/2005/8/layout/hierarchy5"/>
    <dgm:cxn modelId="{D019B8F1-5E1F-49B2-986C-4712A1AAA021}" type="presParOf" srcId="{C2A3760E-799D-4B75-B76A-F6BE0D61297B}" destId="{A65B9CED-A9AA-4347-B041-3BFBBB9EFBD8}" srcOrd="0" destOrd="0" presId="urn:microsoft.com/office/officeart/2005/8/layout/hierarchy5"/>
    <dgm:cxn modelId="{3E760A77-281C-4EA1-83E0-DCCAEAC5A505}" type="presParOf" srcId="{4212F382-DFC3-4807-95E5-B981EBDBE8B9}" destId="{C393C744-DD5C-4ED0-B286-65CB402F5EF1}" srcOrd="1" destOrd="0" presId="urn:microsoft.com/office/officeart/2005/8/layout/hierarchy5"/>
    <dgm:cxn modelId="{9B0FB10C-3D75-4AC8-A554-AE888DDECAC7}" type="presParOf" srcId="{C393C744-DD5C-4ED0-B286-65CB402F5EF1}" destId="{F0D1B6CD-9FC8-4FD6-8630-92B1164CACD5}" srcOrd="0" destOrd="0" presId="urn:microsoft.com/office/officeart/2005/8/layout/hierarchy5"/>
    <dgm:cxn modelId="{80D18A90-31EC-44FF-86FB-420BB7F83853}" type="presParOf" srcId="{C393C744-DD5C-4ED0-B286-65CB402F5EF1}" destId="{9520D31F-B54C-4DC9-963C-6780A1BD99AA}" srcOrd="1" destOrd="0" presId="urn:microsoft.com/office/officeart/2005/8/layout/hierarchy5"/>
    <dgm:cxn modelId="{602AF46D-97B6-482F-8670-F055BE759F51}" type="presParOf" srcId="{9520D31F-B54C-4DC9-963C-6780A1BD99AA}" destId="{5B6E1098-30C3-47D0-A3B0-4E1B0074F2EE}" srcOrd="0" destOrd="0" presId="urn:microsoft.com/office/officeart/2005/8/layout/hierarchy5"/>
    <dgm:cxn modelId="{4AF0D0C8-EA42-4904-B7EA-A13705C3996B}" type="presParOf" srcId="{5B6E1098-30C3-47D0-A3B0-4E1B0074F2EE}" destId="{A887963B-91F4-4B55-827D-8FC3AFB5E12E}" srcOrd="0" destOrd="0" presId="urn:microsoft.com/office/officeart/2005/8/layout/hierarchy5"/>
    <dgm:cxn modelId="{49BEE01C-A379-49B2-937A-3E767DE38637}" type="presParOf" srcId="{9520D31F-B54C-4DC9-963C-6780A1BD99AA}" destId="{8CD2BD0F-C46D-486C-A0AC-927B313DB08B}" srcOrd="1" destOrd="0" presId="urn:microsoft.com/office/officeart/2005/8/layout/hierarchy5"/>
    <dgm:cxn modelId="{B1C59115-67D6-49D3-941A-566F9A3AEF9E}" type="presParOf" srcId="{8CD2BD0F-C46D-486C-A0AC-927B313DB08B}" destId="{679E5392-FCB5-444D-AA3A-E953D230680E}" srcOrd="0" destOrd="0" presId="urn:microsoft.com/office/officeart/2005/8/layout/hierarchy5"/>
    <dgm:cxn modelId="{E55408E4-BD1B-45FB-99A6-AA31B407148B}" type="presParOf" srcId="{8CD2BD0F-C46D-486C-A0AC-927B313DB08B}" destId="{785F01AE-E082-4127-9F90-4E84B5470CB6}" srcOrd="1" destOrd="0" presId="urn:microsoft.com/office/officeart/2005/8/layout/hierarchy5"/>
    <dgm:cxn modelId="{03B57603-8C84-4460-9799-091E43D8C5D9}" type="presParOf" srcId="{9520D31F-B54C-4DC9-963C-6780A1BD99AA}" destId="{605F8E05-0FA7-4107-8D50-B0AA8FD9A979}" srcOrd="2" destOrd="0" presId="urn:microsoft.com/office/officeart/2005/8/layout/hierarchy5"/>
    <dgm:cxn modelId="{98FADB31-A32E-417B-823D-710481D2FC47}" type="presParOf" srcId="{605F8E05-0FA7-4107-8D50-B0AA8FD9A979}" destId="{326D5D41-19EC-40DA-8B9F-DEEF7DF94EEF}" srcOrd="0" destOrd="0" presId="urn:microsoft.com/office/officeart/2005/8/layout/hierarchy5"/>
    <dgm:cxn modelId="{730A3554-9C5E-4F58-AA53-BE8834C34888}" type="presParOf" srcId="{9520D31F-B54C-4DC9-963C-6780A1BD99AA}" destId="{87A9BAAB-0E9A-4AA0-B9C0-1B1598D33C07}" srcOrd="3" destOrd="0" presId="urn:microsoft.com/office/officeart/2005/8/layout/hierarchy5"/>
    <dgm:cxn modelId="{4D5A1B3D-9D4D-4DEC-8032-31F66B114426}" type="presParOf" srcId="{87A9BAAB-0E9A-4AA0-B9C0-1B1598D33C07}" destId="{204E0BD8-7F32-46BE-A7DA-CBAC0FDFB6D9}" srcOrd="0" destOrd="0" presId="urn:microsoft.com/office/officeart/2005/8/layout/hierarchy5"/>
    <dgm:cxn modelId="{9C5F3D45-6C0B-4C63-9C55-02D3749B33EE}" type="presParOf" srcId="{87A9BAAB-0E9A-4AA0-B9C0-1B1598D33C07}" destId="{19407BAD-35C7-43C0-89DB-3183CBDD6BFC}" srcOrd="1" destOrd="0" presId="urn:microsoft.com/office/officeart/2005/8/layout/hierarchy5"/>
    <dgm:cxn modelId="{909253D7-35E2-4049-BBC8-B4900E31326B}" type="presParOf" srcId="{4212F382-DFC3-4807-95E5-B981EBDBE8B9}" destId="{7750FD01-DD91-4751-8381-8962D262F082}" srcOrd="2" destOrd="0" presId="urn:microsoft.com/office/officeart/2005/8/layout/hierarchy5"/>
    <dgm:cxn modelId="{CCC02DD5-BEAA-4E19-8A11-4CA13601469A}" type="presParOf" srcId="{7750FD01-DD91-4751-8381-8962D262F082}" destId="{BF1E84ED-2A38-4821-8183-B11EAEB3BBF8}" srcOrd="0" destOrd="0" presId="urn:microsoft.com/office/officeart/2005/8/layout/hierarchy5"/>
    <dgm:cxn modelId="{3FB5F8E7-D549-411D-A1FC-582C5817C516}" type="presParOf" srcId="{4212F382-DFC3-4807-95E5-B981EBDBE8B9}" destId="{F162599D-FF37-44A3-A0F2-AF79A98E11DB}" srcOrd="3" destOrd="0" presId="urn:microsoft.com/office/officeart/2005/8/layout/hierarchy5"/>
    <dgm:cxn modelId="{5A05C1E0-70A0-4429-9D7A-F2064CDC1492}" type="presParOf" srcId="{F162599D-FF37-44A3-A0F2-AF79A98E11DB}" destId="{B511924B-E25F-4C38-812C-78D67FC5EEF6}" srcOrd="0" destOrd="0" presId="urn:microsoft.com/office/officeart/2005/8/layout/hierarchy5"/>
    <dgm:cxn modelId="{21F8BADA-478D-4798-AE23-3E0E801FFE11}" type="presParOf" srcId="{F162599D-FF37-44A3-A0F2-AF79A98E11DB}" destId="{78CB9C2D-A42B-4449-BDB6-2DEC45A9A28A}" srcOrd="1" destOrd="0" presId="urn:microsoft.com/office/officeart/2005/8/layout/hierarchy5"/>
    <dgm:cxn modelId="{B37B4CA1-3FE1-4BB7-9519-7BEF9F906141}" type="presParOf" srcId="{78CB9C2D-A42B-4449-BDB6-2DEC45A9A28A}" destId="{37F7F0B8-7378-42F5-A492-143F34F1B60F}" srcOrd="0" destOrd="0" presId="urn:microsoft.com/office/officeart/2005/8/layout/hierarchy5"/>
    <dgm:cxn modelId="{DF3F6A1E-EC13-4D51-8E88-5A8020BB02D7}" type="presParOf" srcId="{37F7F0B8-7378-42F5-A492-143F34F1B60F}" destId="{E6C2C26E-FE60-4739-A502-350E3B5DD1CE}" srcOrd="0" destOrd="0" presId="urn:microsoft.com/office/officeart/2005/8/layout/hierarchy5"/>
    <dgm:cxn modelId="{B4EA8C35-C4CA-43B7-BA27-5198048EEF85}" type="presParOf" srcId="{78CB9C2D-A42B-4449-BDB6-2DEC45A9A28A}" destId="{8D460069-483D-4B08-9F3E-D471BB02E6E5}" srcOrd="1" destOrd="0" presId="urn:microsoft.com/office/officeart/2005/8/layout/hierarchy5"/>
    <dgm:cxn modelId="{046AC319-493E-463A-920F-29A313650CFB}" type="presParOf" srcId="{8D460069-483D-4B08-9F3E-D471BB02E6E5}" destId="{0D37A91D-C5F2-4F1B-B715-2C98AEF2FE64}" srcOrd="0" destOrd="0" presId="urn:microsoft.com/office/officeart/2005/8/layout/hierarchy5"/>
    <dgm:cxn modelId="{E8271811-3519-41CA-902C-8849D1E57C3D}" type="presParOf" srcId="{8D460069-483D-4B08-9F3E-D471BB02E6E5}" destId="{75350AB1-5DD0-49B7-BF43-AF5FE75F6A23}" srcOrd="1" destOrd="0" presId="urn:microsoft.com/office/officeart/2005/8/layout/hierarchy5"/>
    <dgm:cxn modelId="{D522FA35-FDB0-4BDB-A3BC-1227A9715BD2}" type="presParOf" srcId="{22D96BCE-D06B-4227-BB19-FAB9A6DA2B2A}" destId="{2BC93F0A-BA19-4951-A4CA-5548AC4C4A47}" srcOrd="1" destOrd="0" presId="urn:microsoft.com/office/officeart/2005/8/layout/hierarchy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E9BF22-8D55-47F2-A11D-80F923A59AB1}">
      <dsp:nvSpPr>
        <dsp:cNvPr id="0" name=""/>
        <dsp:cNvSpPr/>
      </dsp:nvSpPr>
      <dsp:spPr>
        <a:xfrm>
          <a:off x="1181" y="2424343"/>
          <a:ext cx="2082373" cy="1041186"/>
        </a:xfrm>
        <a:prstGeom prst="roundRect">
          <a:avLst>
            <a:gd name="adj" fmla="val 10000"/>
          </a:avLst>
        </a:prstGeom>
        <a:solidFill>
          <a:schemeClr val="bg2">
            <a:lumMod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chemeClr val="tx1"/>
              </a:solidFill>
            </a:rPr>
            <a:t>Clustering</a:t>
          </a:r>
        </a:p>
      </dsp:txBody>
      <dsp:txXfrm>
        <a:off x="31676" y="2454838"/>
        <a:ext cx="2021383" cy="980196"/>
      </dsp:txXfrm>
    </dsp:sp>
    <dsp:sp modelId="{C2A3760E-799D-4B75-B76A-F6BE0D61297B}">
      <dsp:nvSpPr>
        <dsp:cNvPr id="0" name=""/>
        <dsp:cNvSpPr/>
      </dsp:nvSpPr>
      <dsp:spPr>
        <a:xfrm rot="18770822">
          <a:off x="1887605" y="2478214"/>
          <a:ext cx="1224847" cy="35419"/>
        </a:xfrm>
        <a:custGeom>
          <a:avLst/>
          <a:gdLst/>
          <a:ahLst/>
          <a:cxnLst/>
          <a:rect l="0" t="0" r="0" b="0"/>
          <a:pathLst>
            <a:path>
              <a:moveTo>
                <a:pt x="0" y="17709"/>
              </a:moveTo>
              <a:lnTo>
                <a:pt x="1224847" y="1770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69408" y="2465303"/>
        <a:ext cx="61242" cy="61242"/>
      </dsp:txXfrm>
    </dsp:sp>
    <dsp:sp modelId="{F0D1B6CD-9FC8-4FD6-8630-92B1164CACD5}">
      <dsp:nvSpPr>
        <dsp:cNvPr id="0" name=""/>
        <dsp:cNvSpPr/>
      </dsp:nvSpPr>
      <dsp:spPr>
        <a:xfrm>
          <a:off x="2916503" y="1526320"/>
          <a:ext cx="2082373" cy="1041186"/>
        </a:xfrm>
        <a:prstGeom prst="roundRect">
          <a:avLst>
            <a:gd name="adj" fmla="val 10000"/>
          </a:avLst>
        </a:prstGeom>
        <a:solidFill>
          <a:srgbClr val="E7E6E6">
            <a:lumMod val="9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Hierarchical</a:t>
          </a:r>
        </a:p>
      </dsp:txBody>
      <dsp:txXfrm>
        <a:off x="2946998" y="1556815"/>
        <a:ext cx="2021383" cy="980196"/>
      </dsp:txXfrm>
    </dsp:sp>
    <dsp:sp modelId="{5B6E1098-30C3-47D0-A3B0-4E1B0074F2EE}">
      <dsp:nvSpPr>
        <dsp:cNvPr id="0" name=""/>
        <dsp:cNvSpPr/>
      </dsp:nvSpPr>
      <dsp:spPr>
        <a:xfrm rot="19457599">
          <a:off x="4902461" y="1729862"/>
          <a:ext cx="1025780" cy="35419"/>
        </a:xfrm>
        <a:custGeom>
          <a:avLst/>
          <a:gdLst/>
          <a:ahLst/>
          <a:cxnLst/>
          <a:rect l="0" t="0" r="0" b="0"/>
          <a:pathLst>
            <a:path>
              <a:moveTo>
                <a:pt x="0" y="17709"/>
              </a:moveTo>
              <a:lnTo>
                <a:pt x="1025780" y="1770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89707" y="1721927"/>
        <a:ext cx="51289" cy="51289"/>
      </dsp:txXfrm>
    </dsp:sp>
    <dsp:sp modelId="{679E5392-FCB5-444D-AA3A-E953D230680E}">
      <dsp:nvSpPr>
        <dsp:cNvPr id="0" name=""/>
        <dsp:cNvSpPr/>
      </dsp:nvSpPr>
      <dsp:spPr>
        <a:xfrm>
          <a:off x="5831826" y="927637"/>
          <a:ext cx="2082373" cy="1041186"/>
        </a:xfrm>
        <a:prstGeom prst="roundRect">
          <a:avLst>
            <a:gd name="adj" fmla="val 10000"/>
          </a:avLst>
        </a:prstGeom>
        <a:solidFill>
          <a:srgbClr val="E7E6E6">
            <a:lumMod val="9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8890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Agglomerative</a:t>
          </a:r>
        </a:p>
      </dsp:txBody>
      <dsp:txXfrm>
        <a:off x="5862321" y="958132"/>
        <a:ext cx="2021383" cy="980196"/>
      </dsp:txXfrm>
    </dsp:sp>
    <dsp:sp modelId="{605F8E05-0FA7-4107-8D50-B0AA8FD9A979}">
      <dsp:nvSpPr>
        <dsp:cNvPr id="0" name=""/>
        <dsp:cNvSpPr/>
      </dsp:nvSpPr>
      <dsp:spPr>
        <a:xfrm rot="2142401">
          <a:off x="4902461" y="2328544"/>
          <a:ext cx="1025780" cy="35419"/>
        </a:xfrm>
        <a:custGeom>
          <a:avLst/>
          <a:gdLst/>
          <a:ahLst/>
          <a:cxnLst/>
          <a:rect l="0" t="0" r="0" b="0"/>
          <a:pathLst>
            <a:path>
              <a:moveTo>
                <a:pt x="0" y="17709"/>
              </a:moveTo>
              <a:lnTo>
                <a:pt x="1025780" y="1770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89707" y="2320609"/>
        <a:ext cx="51289" cy="51289"/>
      </dsp:txXfrm>
    </dsp:sp>
    <dsp:sp modelId="{204E0BD8-7F32-46BE-A7DA-CBAC0FDFB6D9}">
      <dsp:nvSpPr>
        <dsp:cNvPr id="0" name=""/>
        <dsp:cNvSpPr/>
      </dsp:nvSpPr>
      <dsp:spPr>
        <a:xfrm>
          <a:off x="5831826" y="2125002"/>
          <a:ext cx="2082373" cy="1041186"/>
        </a:xfrm>
        <a:prstGeom prst="roundRect">
          <a:avLst>
            <a:gd name="adj" fmla="val 10000"/>
          </a:avLst>
        </a:prstGeom>
        <a:solidFill>
          <a:srgbClr val="E7E6E6">
            <a:lumMod val="9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Divisive</a:t>
          </a:r>
        </a:p>
      </dsp:txBody>
      <dsp:txXfrm>
        <a:off x="5862321" y="2155497"/>
        <a:ext cx="2021383" cy="980196"/>
      </dsp:txXfrm>
    </dsp:sp>
    <dsp:sp modelId="{7750FD01-DD91-4751-8381-8962D262F082}">
      <dsp:nvSpPr>
        <dsp:cNvPr id="0" name=""/>
        <dsp:cNvSpPr/>
      </dsp:nvSpPr>
      <dsp:spPr>
        <a:xfrm rot="2829178">
          <a:off x="1887605" y="3376238"/>
          <a:ext cx="1224847" cy="35419"/>
        </a:xfrm>
        <a:custGeom>
          <a:avLst/>
          <a:gdLst/>
          <a:ahLst/>
          <a:cxnLst/>
          <a:rect l="0" t="0" r="0" b="0"/>
          <a:pathLst>
            <a:path>
              <a:moveTo>
                <a:pt x="0" y="17709"/>
              </a:moveTo>
              <a:lnTo>
                <a:pt x="1224847" y="1770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469408" y="3363327"/>
        <a:ext cx="61242" cy="61242"/>
      </dsp:txXfrm>
    </dsp:sp>
    <dsp:sp modelId="{B511924B-E25F-4C38-812C-78D67FC5EEF6}">
      <dsp:nvSpPr>
        <dsp:cNvPr id="0" name=""/>
        <dsp:cNvSpPr/>
      </dsp:nvSpPr>
      <dsp:spPr>
        <a:xfrm>
          <a:off x="2916503" y="3322366"/>
          <a:ext cx="2082373" cy="1041186"/>
        </a:xfrm>
        <a:prstGeom prst="roundRect">
          <a:avLst>
            <a:gd name="adj" fmla="val 10000"/>
          </a:avLst>
        </a:prstGeom>
        <a:solidFill>
          <a:srgbClr val="E7E6E6">
            <a:lumMod val="9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Partitioning</a:t>
          </a:r>
        </a:p>
      </dsp:txBody>
      <dsp:txXfrm>
        <a:off x="2946998" y="3352861"/>
        <a:ext cx="2021383" cy="980196"/>
      </dsp:txXfrm>
    </dsp:sp>
    <dsp:sp modelId="{37F7F0B8-7378-42F5-A492-143F34F1B60F}">
      <dsp:nvSpPr>
        <dsp:cNvPr id="0" name=""/>
        <dsp:cNvSpPr/>
      </dsp:nvSpPr>
      <dsp:spPr>
        <a:xfrm>
          <a:off x="4998877" y="3825250"/>
          <a:ext cx="832949" cy="35419"/>
        </a:xfrm>
        <a:custGeom>
          <a:avLst/>
          <a:gdLst/>
          <a:ahLst/>
          <a:cxnLst/>
          <a:rect l="0" t="0" r="0" b="0"/>
          <a:pathLst>
            <a:path>
              <a:moveTo>
                <a:pt x="0" y="17709"/>
              </a:moveTo>
              <a:lnTo>
                <a:pt x="832949" y="1770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94527" y="3822136"/>
        <a:ext cx="41647" cy="41647"/>
      </dsp:txXfrm>
    </dsp:sp>
    <dsp:sp modelId="{0D37A91D-C5F2-4F1B-B715-2C98AEF2FE64}">
      <dsp:nvSpPr>
        <dsp:cNvPr id="0" name=""/>
        <dsp:cNvSpPr/>
      </dsp:nvSpPr>
      <dsp:spPr>
        <a:xfrm>
          <a:off x="5831826" y="3322366"/>
          <a:ext cx="2082373" cy="1041186"/>
        </a:xfrm>
        <a:prstGeom prst="roundRect">
          <a:avLst>
            <a:gd name="adj" fmla="val 10000"/>
          </a:avLst>
        </a:prstGeom>
        <a:solidFill>
          <a:srgbClr val="E7E6E6">
            <a:lumMod val="9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K-Means/Medoids</a:t>
          </a:r>
        </a:p>
        <a:p>
          <a:pPr marL="0" lvl="0" indent="0" algn="ctr" defTabSz="1244600">
            <a:lnSpc>
              <a:spcPct val="90000"/>
            </a:lnSpc>
            <a:spcBef>
              <a:spcPct val="0"/>
            </a:spcBef>
            <a:spcAft>
              <a:spcPct val="35000"/>
            </a:spcAft>
            <a:buNone/>
          </a:pPr>
          <a:r>
            <a:rPr lang="en-US" sz="2000" kern="1200" dirty="0">
              <a:solidFill>
                <a:prstClr val="black"/>
              </a:solidFill>
              <a:latin typeface="Calibri" panose="020F0502020204030204"/>
              <a:ea typeface="+mn-ea"/>
              <a:cs typeface="+mn-cs"/>
            </a:rPr>
            <a:t>/Mode</a:t>
          </a:r>
        </a:p>
      </dsp:txBody>
      <dsp:txXfrm>
        <a:off x="5862321" y="3352861"/>
        <a:ext cx="2021383" cy="98019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0-16T03:35:54.286"/>
    </inkml:context>
    <inkml:brush xml:id="br0">
      <inkml:brushProperty name="width" value="0.05292" units="cm"/>
      <inkml:brushProperty name="height" value="0.05292" units="cm"/>
      <inkml:brushProperty name="color" value="#FF0000"/>
    </inkml:brush>
  </inkml:definitions>
  <inkml:trace contextRef="#ctx0" brushRef="#br0">13044 7768 82 0,'0'0'412'0,"-6"-8"-77"15,3 2-44-15,3 6-40 0,-5-8-16 0,5 8-21 16,-4-11-1-16,4 11 2 0,-2-11-34 0,-1 4-16 16,3 7 10-16,0-11-5 0,0 11-18 0,-1-12-14 15,1 12 1-15,0-11 10 0,0 11-9 0,1-9-3 16,-1 9-37-16,0-6-13 0,0 6-28 0,0 0-6 15,0 0-17-15,0 0 10 0,0 0 9 0,0 7 13 16,0 4 8-16,0 3 0 0,-1 4-12 0,1 5-4 16,-3 2 7-16,3 3-12 0,3-1-6 0,-2 6-5 15,4-2-31-15,2 0 22 0,0-1-5 0,5-1-2 16,1 0-6-16,2-4-2 0,2-1-4 0,2-1 0 16,1-2-3-16,3-3 7 0,0-2-19 0,0-2 4 15,3-2-12-15,-6-4-13 0,3-2-4 0,-3-3 2 16,0-2 1-16,-1-2-52 0,-2-2 16 0,-1-4-19 15,2-3-4-15,-4-4-10 0,-2-2 2 0,-1-4 6 16,-2-5 0-16,-2-2 11 0,0-2 12 0,-3-2 11 16,-3 4 7-16,2 0 8 0,-2 2 46 0,0 0 23 15,1 3-10-15,-2 3 31 0,1 1-4 0,0 2-15 16,-1 4-15-16,1 1 3 0,2 5-12 0,-3 6 7 0,6-5 7 16,-6 5 13-16,12 11-2 0,-4 1 2 0,3 6-3 15,2 6 13-15,2 9 14 0,3 3 5 0,0 1-2 16,1 3-7-16,0 3 23 0,3 7-4 0,-3 0-9 15,2 2-7-15,-6-5-11 0,0-1-25 0,-3 1 21 16,-2 2-33-16,0-1 29 0,-6 2-36 0,-1-4 23 16,-3-2-29-16,-4-1 20 0,-1-2-26 0,-7-2 24 15,1-4 13-15,-3-4-3 0,0-5 22 0,-4-3 14 16,-2-4-8-16,-1-3 7 0,0-6-2 0,1-2-9 16,-2-6-9-16,2-3-22 0,-2-4 12 0,-1-5-26 15,-3-4 21-15,4-4-33 0,-4-7 24 0,7-1-27 16,1-7 24-16,5 6-26 0,2-2 24 0,4-2 4 15,2 3-3-15,4 0-3 0,1 1-1 0,4-4-8 16,1 1 0-16,4 1-6 0,1 1-52 0,3-1-37 0,1 4-64 16,-1 0-43-16,3 1-43 0,0 0-40 15,3 4-40-15,0 0-22 0,-1 2-92 0,2 1-67 16,1 0-56-16,-1 2-373 0,-1 3-502 0</inkml:trace>
  <inkml:trace contextRef="#ctx0" brushRef="#br0" timeOffset="147">13976 8040 106 0,'13'-5'678'16,"2"0"-148"-16,0-1-98 0,6-1-60 15,2-2-59-15,5-1-63 0,0 0-48 0,3-1-41 0,4-4-51 16,-3 5-67-16,0 0-82 0,0 0-106 0,0 0-142 16,0 3-113-16,-1 1-340 0,-6 0-245 0</inkml:trace>
  <inkml:trace contextRef="#ctx0" brushRef="#br0" timeOffset="309.14">14310 8198 562 0,'-7'11'488'0,"3"-2"-59"0,2-3-105 0,2-6-24 0,2 8-77 16,-2-8-17-16,10 2-70 0,-10-2 0 16,20-2-49-16,-4-2-9 0,1-2-26 0,4-1-58 15,6-4-39-15,1-1-64 0,6-5-51 0,0-1-22 0,1-2-108 16,-1-3-52-16,-1-2-249 0,-1 0-104 15</inkml:trace>
  <inkml:trace contextRef="#ctx0" brushRef="#br0" timeOffset="601.34">14849 7818 209 0,'9'-12'541'0,"-2"2"-85"0,1 0-105 15,-3 6-84-15,0-1 2 0,-5 5 8 0,14-2-15 16,-14 2-14-16,13 8-22 0,-4 2-20 0,0 1 0 16,1 5-15-16,2 2-6 0,0 0-27 0,3 4-1 15,-3 0-2-15,1 3-27 0,2-1-21 0,-3-2 17 16,-2 1-31-16,3-3 1 0,-3-1-25 0,-1-1 8 15,1 0-33-15,-3-4 11 0,-1 0-27 0,0-1 13 16,1-3-20-16,-3-1 65 0,-1 0 43 0,1-4-15 16,-4-5-20-16,0 7-41 0,0-7 11 0,0 0-40 15,-7-5 20-15,-1-3-32 0,0-7 18 0,-2-5-28 0,-4-12 18 16,0-8-26-16,-1-4 18 0,-1-13-29 16,1-1 21-16,5-1 3 0,1 7-42 0,4 0 44 15,0 2-26-15,3 3 33 0,4 0-33 0,3 5 11 0,0 8-5 16,1 0 5-16,3 4-5 0,4 1-10 0,-2 5 14 15,5 2-13-15,-2 6-47 0,2 3-22 0,0 3-62 16,0 4-65-16,0 2-61 0,-1 6-72 16,0 0-37-16,3 4-72 0,-5 1-117 0,1 4-432 0,-2 2-608 15</inkml:trace>
  <inkml:trace contextRef="#ctx0" brushRef="#br0" timeOffset="775.33">15049 7783 607 0,'-11'13'584'0,"3"-5"-51"15,2 1-34-15,-1-2-101 0,1-2-84 0,6-5-63 16,-4 5-52-16,4-5-42 0,0 0-31 0,13-1-24 16,-3-2-27-16,3-2-7 0,2 1-10 0,7-3-18 15,-3-2-49-15,4 0-47 0,0 0-52 0,4-2-45 16,-3 0-52-16,2-1-91 0,-4 3-60 0,-1-2-45 16,4-1-370-16,-5 1-284 0</inkml:trace>
  <inkml:trace contextRef="#ctx0" brushRef="#br0" timeOffset="980.33">15608 7474 458 0,'6'-10'500'0,"1"0"-36"16,-1 3-27-16,0-1 33 0,-2 1-43 0,1 3-24 15,-5 4-66-15,5-10-77 0,-5 10-48 0,6-5-34 0,-6 5 0 16,0 0-39-16,1 6-24 0,-2 2-15 16,-1-2-2-16,2 6-18 0,-2-2 2 0,2 2-27 0,0 3 10 15,2 0-28-15,0 2 11 0,1 0-39 0,4 2 31 16,-1 3-22-16,2-3 16 0,1 0-24 0,1-1 19 15,0 0-54-15,-1-1-36 0,5-3-40 0,-5-1-56 16,3-3-37-16,0 0-35 0,1-5-49 0,1 0-54 16,-1-3-31-16,2-4-66 0,1-5-113 0,1-2-271 15,0-5-345-15</inkml:trace>
  <inkml:trace contextRef="#ctx0" brushRef="#br0" timeOffset="1148.33">16053 7478 186 0,'16'-18'628'0,"-2"3"-70"15,0 1-75-15,-5 5-72 0,0 0-108 0,1 3-22 16,-10 6 8-16,11-2 35 0,-11 2-43 0,5 7-29 15,-5 0-24-15,0 2-39 0,-3 2-23 0,2 2-32 0,-2 2-19 16,-2 2-21-16,1 3-19 0,-5 1-28 16,3 0 10-16,0 1-26 0,-2 1-5 0,-2-1-13 15,1-2-63-15,-3 1-71 0,-2-1-55 0,1-2-51 16,-1-2-38-16,2-1-47 0,-2-5-42 0,1 0-20 0,1-5-70 16,0-3-61-16,1-2-240 0,2-3-252 0</inkml:trace>
  <inkml:trace contextRef="#ctx0" brushRef="#br0" timeOffset="1290.33">15875 7650 389 0,'-1'-15'559'0,"1"3"-31"15,1 2-4-15,-1-1-31 0,5 1-67 0,-3-1-43 16,2 3-43-16,3-1-42 0,-1 3-11 0,4 2-45 16,1-3 8-16,0 5-30 0,3 0-45 0,2 1-3 15,3 2-23-15,1 0-22 0,3 1-25 0,0 4-19 16,1-1-16-16,1 0-38 0,-5 3-66 0,3-1-86 16,-3-1-59-16,-1 2-98 0,-3-1-47 0,-2 1-46 15,0-1-119-15,-2 0-42 0,-3-2-558 0,1 1-710 16</inkml:trace>
  <inkml:trace contextRef="#ctx0" brushRef="#br0" timeOffset="1482.59">16446 7297 750 0,'19'-19'709'0,"-1"1"-145"0,0 4-100 0,-1 5-81 0,1 3-8 16,-3 2-37-16,3 3 0 0,-4 2-48 0,4 3-14 15,-2 2 5-15,1 2-52 0,0 3-17 0,-2 1-29 16,0 3-15-16,-3 1-48 0,-1 2 0 0,1 3-47 15,-6-2 14-15,1 2-13 0,-5 3-12 0,-2-3-30 0,0 2-65 16,-5 1-49-16,-4 2-61 0,-4-1-65 0,1 0-73 16,-5 1-64-16,-5-1-86 0,-1 0-131 15,0-6-716-15,-4 3-886 0</inkml:trace>
  <inkml:trace contextRef="#ctx0" brushRef="#br0" timeOffset="2478.53">13640 8986 453 0,'0'0'571'16,"-3"-6"-111"-16,3 6-117 0,0 0-71 0,-1-8-57 0,1 8-44 15,0 0-11-15,0 0-22 0,6 8 0 0,-2-3 12 16,1 2 18-16,0 2 17 0,4 2-17 0,0 1-38 15,0 3-14-15,1 2-13 0,2-1 59 16,1 4-16-16,2-1-25 0,-1 1-30 0,3 0-14 0,-3 1-15 16,2-2-13-16,0-2-6 0,0-3-9 0,2 0-3 15,-1 0-5-15,3-3-2 0,1-3-7 0,3 1 7 16,0-6-13-16,4-1 7 0,4-2-9 0,3-2 2 16,3-4-1-16,8-2-2 0,0-1-3 0,3-3-15 15,3-1-3-15,6-4-11 0,3 0 3 0,-1-1-7 16,0 1 3-16,3-1-4 0,-3-2 1 0,1 0 3 15,-1-1 8-15,-1 1-7 0,1-1 3 0,-1 0-9 16,-2-1 9-16,1 2 3 0,-1-1 1 0,-3-3 2 16,1 4 5-16,-8 2-6 0,-2 0 9 0,2 1 0 0,-2 0 4 15,1 2 0-15,-4-1-2 0,0 0 2 16,0 1 2-16,-2 2 1 0,-3 0-5 0,-5 1 5 16,0 2-1-16,-2-1 1 0,0 3-2 0,-3-2 2 15,1 2 1-15,-2-1-4 0,-2 2 2 0,-2-1 0 0,2 1 2 16,0-1-4-16,2 0 3 0,-2 1 0 0,-1 0 0 15,0-2 0-15,3 2 1 0,-1-1 2 16,-3-1-4-16,2 1 5 0,-1 0 3 0,0-2 19 0,-1 2 17 16,-2-3 18-16,1 2 6 0,-3-2-2 0,0 3 14 15,-3-3 2-15,-1 3 39 0,-2-3 9 16,0 1-12-16,-3 0-23 0,0-1 12 0,-1-1 53 0,-2 1-16 16,1 0-18-16,-5-1-12 0,2 1-5 0,-4-1-12 15,3 2 37-15,-3-1-21 0,-2-2-22 0,1 1-14 16,0 1-24-16,0-1-1 0,-2 1-17 0,0 0 0 15,1 1-16-15,-1 1 1 0,3 2-26 0,-2-2-91 16,-2 3-129-16,4 6-92 0,-3-10-87 0,3 10-29 16,0 0-64-16,0 0-151 0,-12 2-685 0,5 3-938 15</inkml:trace>
  <inkml:trace contextRef="#ctx0" brushRef="#br0" timeOffset="3074.71">15277 8565 296 0,'-3'-10'490'0,"3"1"-63"0,-2 1-99 15,0 2 11-15,2 6-64 0,-1-11-28 0,1 11-87 0,-1-8-16 16,1 8-57-16,0 0 21 0,0 0-7 0,0 0 18 15,6 9 8-15,-3 4-2 0,2 2 27 0,0 6 2 16,5 5 7-16,-1 4-5 0,0 7-8 0,4 4-17 16,-4 1-5-16,1 4-13 0,0-2-8 0,-1 5-15 15,-2-1-13-15,-1 3-19 0,3-2-1 0,-4 0-16 16,0 0 2-16,-1-2-18 0,1 0 5 0,-2-3-11 16,2 0 8-16,-3-8-20 0,0-3 18 0,0-1-15 15,-2-4 10-15,3-3-52 0,-1-2-59 0,-2-4-31 16,2-2-45-16,-1-2 17 0,-1-5 1 0,1 1-63 15,-1-11-63-15,-1 11-114 0,1-11-5 0,0 0-77 16,0 0-379-16,0 0-395 0</inkml:trace>
  <inkml:trace contextRef="#ctx0" brushRef="#br0" timeOffset="3375.71">15263 9341 154 0,'-9'1'441'0,"1"4"-81"0,0 1-13 0,2 0-54 0,-3 3-37 15,4 0-17-15,-1 3-14 0,2 1-32 0,0 2-27 16,3 1-4-16,-1 1-2 0,4 1-12 0,0 0-3 16,3 3-15-16,3-2 2 0,2 0-3 15,4-1 13-15,0 1-7 0,5-2 20 0,3-1 1 0,0-4-7 16,4 1-12-16,-2-6-23 0,0 0-9 0,3-2-23 16,0-2 14-16,-3-1-7 0,4-4 13 0,-2 0-40 15,1-1 22-15,-3-3-44 0,1-3 37 0,-4 0-35 16,-1-2 36-16,-1-1-27 0,-2 1 1 0,-2-3 4 15,-2 1 17-15,-1-2-33 0,-2 2 17 0,-2 0-38 16,-2 1 23-16,-1 0-28 0,-1-1 22 0,0 4-33 16,-2-2-4-16,-1 3-88 0,2-3-46 0,-3 5-97 15,1-3-129-15,-1 9-55 0,2-8-90 0,-2 8-155 16,0 0-456-16,-7-6-732 0</inkml:trace>
  <inkml:trace contextRef="#ctx0" brushRef="#br0" timeOffset="3960.72">15233 10240 312 0,'-12'-4'590'0,"12"4"-149"15,0 0-76-15,-13 3-10 0,13-3-31 0,-5 10-40 16,3-1 22-16,2 2-13 0,2 5 2 0,0 2-9 0,3 3-27 16,2 3-17-16,0 3-14 0,5 1-28 15,-2 1-33-15,2 0-53 0,4 2 8 0,-3-2-47 16,2 2 10-16,-2-4-15 0,1 0-15 0,-1 0-15 0,-2-2 0 16,1 0-6-16,-4-3-6 0,-1-1-10 0,1-1-60 15,-3-4-29-15,0 0-41 0,-2-3-17 0,-2-1-13 16,-1 0-39-16,-3-5-18 0,1 1-50 0,-3-1 11 15,-2-5-61-15,7-2 30 0,-19 0-38 0,9-4 30 16,-5-5 1-16,-1 0 45 0,-5-8 27 0,-1-3 52 16,-2-4 16-16,-1-2 65 0,2-3 61 0,-1-1 44 15,1-2 40-15,4-2 48 0,0-1 1 0,3-2 2 16,1-2 18-16,5 1 9 0,2-3 3 0,3 5 4 16,5 0 20-16,5 0-18 0,1-4-6 0,6 1-27 15,3 3-11-15,2 2-33 0,2 3-2 0,3 1-22 16,5 5-15-16,0 2-8 0,2 3-5 0,-2 5-38 15,1 1-61-15,1 6-94 0,-6 1-50 0,2 3-126 16,-5 4-64-16,0 1-544 0,-3 2-526 0</inkml:trace>
  <inkml:trace contextRef="#ctx0" brushRef="#br0" timeOffset="4142.49">15090 10549 662 0,'-19'18'565'16,"6"-4"-61"-16,-2-1-2 0,5-4-72 0,1 0-52 15,2-3-65-15,7-6-63 0,-2 8-23 0,2-8-5 16,13 0-35-16,-2-3-32 0,8-2-32 0,3-1-24 16,6-3-15-16,3-1-12 0,6-2-18 0,0-1-23 15,1 0-60-15,1 0-70 0,0-2-75 0,-2 2-57 16,-1-1-61-16,-4 1-63 0,-4 1-92 0,0 1-132 16,0-3-257-16,-5 2-379 0</inkml:trace>
  <inkml:trace contextRef="#ctx0" brushRef="#br0" timeOffset="4443.49">15741 10316 471 0,'-9'-11'523'0,"1"2"-117"15,-1-1-93-15,3 2-50 0,-1-1-61 0,2 1-62 16,1 0-85-16,-1 1-66 0,3 1-66 0,2 6-72 15,0-13-31-15,1 7-130 0,5 0-206 0,-1-1-13 16</inkml:trace>
  <inkml:trace contextRef="#ctx0" brushRef="#br0" timeOffset="6977.84">16262 10232 403 0,'0'-8'563'0,"0"8"-113"0,0-12-107 16,0 12-57-16,7-5-10 0,-7 5-51 0,10 3-4 15,-4 4-12-15,0 2-2 0,4 4-12 0,0 4 11 16,0 1-17-16,0 2-12 0,3 3-18 0,-2 0-4 16,1 1-24-16,1 0-11 0,-4-4-12 0,0 1-13 15,1-2-10-15,-4-1-13 0,2-2-12 0,-3-4-14 16,1 1 2-16,-2-1-5 0,1-4 34 0,-2 2 29 16,-1-5-31-16,-2-5 5 0,3 7-36 0,-3-7 8 15,0 0-12-15,4-6-6 0,-4 6-8 0,1-16-17 16,2 4-16-16,-2-3-30 0,4-3 32 0,-1-6-31 15,0 2 32-15,1 0-20 0,0 1 24 0,0 0-22 16,-1 4 30-16,2 2-31 0,-2 1 27 0,1 3-27 0,-1 0 22 16,3 4-21-16,-2 2 23 0,-5 5-18 0,12-4 20 15,-12 4-14-15,12 2 31 0,-7 2-11 16,2 0 20-16,1 2-26 0,-1 1 46 0,-1 0-35 0,2 1 28 16,-2 0-27-16,2-1 22 0,-2 1-34 0,1-2 27 15,0 0-2-15,0 0-5 0,-2-1 0 0,0 0 1 16,0 0-2-16,-5-5-32 0,10 3 27 15,-10-3 2-15,12-2-29 0,-6-2 27 0,2-1-33 0,-2-3 17 16,2-4-47-16,-2-1 19 0,4-3-32 0,-2-3 41 16,0 0-22-16,-2 0 31 0,4 1-12 0,-6 2 52 15,3 1 26-15,-2 2 35 0,-1 3-12 0,-1-1 2 16,1 2-21-16,1 2-12 0,-5 7 23 0,7-6 4 16,-7 6 35-16,7 3-13 0,-7-3 32 0,8 12-13 15,-2-4-17-15,1 4-1 0,-1 0-23 0,-2 2-4 16,4 1-12-16,-1 0-9 0,0 3-9 0,0 0-4 15,1 0-37-15,0 0-74 0,-3-2-88 0,1 0-71 16,-2-2-59-16,1-1-102 0,-1 1-47 0,0-3-67 0,1-2-35 16,-4-3-31-16,3-1-128 0,-4-5-313 15,0 0-621-15</inkml:trace>
  <inkml:trace contextRef="#ctx0" brushRef="#br0" timeOffset="7141.83">16936 10181 375 0,'5'-13'700'0,"-1"2"-116"0,-2 2-56 16,3 1-42-16,2 1-50 0,-7 7-55 15,9-6-27-15,-9 6 6 0,11-1-70 0,-11 1-47 0,13 5-23 16,-5 0-33-16,-1 2-54 0,3 0-2 0,-3 1-50 16,2 2 11-16,0 1-35 0,1 0 11 0,-2 0-108 15,-2-1-39-15,2 1-51 0,-3 0-90 0,-2-2-70 16,0-1-50-16,0-1-41 0,-3 0-71 0,-3-1-61 16,3-6-504-16,-4 9-626 0</inkml:trace>
  <inkml:trace contextRef="#ctx0" brushRef="#br0" timeOffset="7277.84">16929 10130 285 0,'-9'-16'498'0,"3"1"-109"0,-1-1-11 0,2 0-76 16,0-1 3-16,-1 0-41 0,2 2-49 0,0 0-26 15,-2 1-54-15,3 2-5 0,-1 0-43 0,2 3-19 16,-1-1-98-16,1 3-60 0,-2 0-99 0,4 1 14 0,0 6-42 16,-1-9-19-16,1 9-64 0,0 0-65 0,6-7-150 15,-6 7-12-15</inkml:trace>
  <inkml:trace contextRef="#ctx0" brushRef="#br0" timeOffset="7541.91">17079 9907 15 0,'14'-3'457'16,"-1"0"-108"-16,1 1 2 0,-1 1-53 0,-1-3 36 15,-3 1-64-15,3 1 12 0,-2-1-73 0,-1 2-18 16,-9 1-58-16,13-3-12 0,-13 3-41 0,12 1 39 16,-12-1-26-16,8 8 1 0,-4-2-35 0,-3 1 5 15,2 0-25-15,-2 3 16 0,2 0-4 0,0 0-8 16,-1 3 11-16,1 1 4 0,1 0-13 0,1 0-5 15,1 1-5-15,0 0-4 0,3-1-3 0,0 2-3 16,1-3-4-16,-1 1-2 0,-1-2-3 0,1-1 1 16,-3 0-2-16,2-3-4 0,-3-1 4 0,0 1-1 15,-3-1 4-15,-2-7-7 0,3 9 2 0,-3-9-2 16,-4 7-11-16,4-7-33 0,-6 4-43 0,6-4-24 0,0 0-50 16,-13 0-37-16,13 0-56 0,-8-4-52 15,8 4-19-15,-3-9-29 0,3 9-67 0,1-14-237 0,0 5-158 16</inkml:trace>
  <inkml:trace contextRef="#ctx0" brushRef="#br0" timeOffset="7804.83">17458 9974 180 0,'13'-11'521'0,"-3"1"-136"0,1 0 6 0,-2 2-64 0,-3 0 12 15,3 0-49-15,-3 1-7 0,-2 2-53 0,1-2-26 16,-5 7-53-16,4-9-15 0,-4 9-42 0,0 0-6 16,-1-6-28-16,1 6-3 0,0 0-18 0,-9 2 2 15,9-2-22-15,-5 6 9 0,5-6-16 0,-4 10 11 16,4-10-21-16,0 13 14 0,1-7-13 0,3 1 13 15,0 1-17-15,2 1 10 0,-1-1-24 0,7 1 10 16,-2 0-13-16,0 1 14 0,4 0-15 0,-1-1 14 16,0 1-10-16,0 0 13 0,-1-1-13 0,-4 0 16 15,1 0 3-15,-3 0-3 0,1-1 1 0,-5-1 4 16,0-1 22-16,-2 2 19 0,-3-2 0 0,-2 1-8 16,-1-2-6-16,-1 1-6 0,-2-3-1 0,0 1-5 15,2-1-3-15,7-3-52 0,-17 2-74 0,17-2-65 16,-18-1-80-16,18 1-129 0,-13-7-143 0,7 3-317 15,2-4-385-15</inkml:trace>
  <inkml:trace contextRef="#ctx0" brushRef="#br0" timeOffset="7961.87">17738 9891 477 0,'12'-2'566'0,"-12"2"-78"0,18 1 2 0,-12 1-67 16,2 3-38-16,-1-1-34 0,2 4-50 15,-4 0-42-15,2 0-43 0,0 3-43 0,0 0-34 0,-1 1-25 16,-2 3-24-16,3-3-19 0,-4 1-69 0,2 1-63 15,-2-3-90-15,-2 1-55 0,2-1-87 0,-2-1-33 16,-1-1-63-16,-1-3-75 0,1-6-373 0,-3 10-380 16</inkml:trace>
  <inkml:trace contextRef="#ctx0" brushRef="#br0" timeOffset="8084.84">17742 9889 627 0,'-6'-17'481'15,"-1"-1"3"-15,0 0-63 0,0 2-79 0,2 0-76 16,0 1-47-16,0-1-45 0,1 3-31 0,-1 3-41 15,1 0-11-15,2 0-89 0,-1 2-86 0,-1 1-71 16,4 7-112-16,-1-7-152 0,1 7-352 0,0 0-284 16</inkml:trace>
  <inkml:trace contextRef="#ctx0" brushRef="#br0" timeOffset="8807.54">17871 9810 98 0,'10'8'644'0,"-2"1"-101"0,-2-1-59 16,2 1-30-16,2 1-47 0,-3 0-54 0,-1 1-41 0,2 0-8 15,-1 0-15-15,-2-1-32 0,2 0-43 0,-3-1-48 16,1 0-36-16,-1-1-33 0,1 0-11 0,-1-2-24 16,-2 0 2-16,-2-6-21 0,5 11 11 0,-5-11-13 15,4 6-4-15,-4-6-9 0,0 0-3 0,10-2-7 16,-10 2-5-16,9-7-6 0,-1 0-13 0,-3 1-2 16,3-1-2-16,-1-1-5 0,1 1 0 0,0 0 6 15,-2 0-3-15,4 2-4 0,-3 0 3 0,-1 1 0 16,3 2 1-16,-9 2 2 0,14-2 6 0,-14 2-2 15,14 0 1-15,-14 0 4 0,15 4-2 0,-7-2 2 16,1 2 1-16,1-1 6 0,1-1-5 0,-2 1-1 16,1 0 4-16,0-1-1 0,0-1 3 0,-10-1 2 15,18 3-3-15,-18-3-7 0,17-3 5 0,-7 1 1 16,-1-1-12-16,-1-1 1 0,-2-1 1 0,2-1-6 0,-2-2-28 16,-1 0-13-16,0-2 3 0,-1-3 10 15,1 1 2-15,0-2 10 0,-2-1 3 0,1 0 7 16,-2 3 0-16,0 0 7 0,0 0-3 0,-2 2 8 15,3-1-9-15,-2 4-29 0,0 1 5 0,-1 6 7 0,-2-6 6 16,2 6 2-16,0 0 4 0,-7 6-2 16,3 2 4-16,2 0 4 0,-1 4 10 0,-2 0-1 15,4 2 0-15,0 3 10 0,-1 0-6 0,4 1 5 0,-2 0-9 16,1 1 10-16,3 1-10 0,-2-1 10 0,2-1-9 16,-1-1 7-16,1 1-5 0,-2 0 7 0,2-2-15 15,-3-2-15-15,1-1 5 0,-2-2 6 0,-2 0 1 16,0 0 4-16,-2-4 3 0,-1 1-1 0,-2 0 0 15,-2-2 4-15,2-3-1 0,-2 0-2 0,9-3 8 16,-18 1-13-16,8-2 14 0,1-3-9 0,0 0 20 16,1-2-13-16,0-1 11 0,3-2-11 0,-1-1 9 15,3 0-24-15,2-1-11 0,1-2-21 0,0 1 9 16,0-1-1-16,0 0 7 0,3 0 17 0,-2 1-10 16,3 0 15-16,-2-1-11 0,-2 2 13 0,4-2-10 15,-1 1 15-15,-1-1-13 0,1-2 14 0,-1 2-3 0,2-1 2 16,-2 0 12-16,0-1 13 0,-1-1-5 15,1-2-7-15,1 1-1 0,-3-1 33 0,0 2 26 0,0-2 10 16,0 2-1-16,-1-1 8 0,-4 4-11 16,1-3-13-16,-1 3-14 0,-1 2-15 0,-2 0-3 0,-2 5-8 15,0 3-15-15,-1 1 7 0,11 2 1 16,-23 1 4-16,11 3-14 0,3 1 4 0,0 5 0 0,1-2-5 16,-1 4-30-16,7-2-19 0,-1 2-17 0,2-1-35 15,1 1-22-15,2 1-38 0,2-1-25 0,2 1-71 16,2 0-61-16,1-3-65 0,0 1-166 0,2-3-298 15,1 0-386-15</inkml:trace>
  <inkml:trace contextRef="#ctx0" brushRef="#br0" timeOffset="10664.11">16033 7478 329 0,'0'0'395'0,"-7"-7"-59"0,7 7-53 15,-7-8-25-15,5 1-64 0,-1 1-15 0,2 1-15 0,-2-4-10 16,2 1-25-16,1-1-24 0,3 0-11 16,-1-2-25-16,2-1-8 0,4-3-22 0,2 0 12 15,1-2-20-15,5 0-1 0,4-4-11 0,6-3 7 0,3-3-15 16,3 1 12-16,5 2-21 0,6-7 16 0,4 3-14 15,1-1 10-15,2 2-15 0,1-1 13 16,4 2-1-16,1-1 0 0,-2 2-5 0,4 1 0 0,-2-1 8 16,1 2-10-16,1 0 0 0,-1 2-2 0,1-1-18 15,-2 0-13-15,-1 2 28 0,1-1 10 0,-11 5-17 16,2 0 16-16,-3-1-8 0,-1 2 8 16,-2-1-18-16,-1 2 17 0,-2 1-15 0,-7 1 12 0,-2-1-13 15,-3 2 15-15,-1 0-10 0,-2 2 17 0,-2-1 1 16,-2 1 23-16,-1 0-9 0,-2 1 32 15,0 0-12-15,-2 0 22 0,-2 1-23 0,1 2 26 0,-5-1 5 16,2 2 21-16,-1-1-8 0,-2 2 0 0,1-3-16 16,-8 6-15-16,11-4-15 0,-11 4-12 0,10-5-22 15,-10 5 2-15,11-2-6 0,-11 2 4 0,16 4-6 16,-6 1 4-16,3 3-3 0,1 3 13 0,1 3 8 16,3 2 1-16,1 4 6 0,3 1 8 0,-3 2-9 15,3 2-1-15,1 5 2 0,-4-1 19 0,3 2-2 16,-2 1-5-16,-2 0-5 0,1-2-18 0,-3 2 10 15,-2-5-15-15,-3 1 11 0,2-1 2 0,-3-2 21 16,-1-2-24-16,0-1-10 0,-3-2 5 0,1-1 13 16,-1-2-24-16,-2-3 15 0,2-1-1 0,-3 0-7 15,1-4 1-15,-2 1 2 0,2-2-2 0,-1 1-7 0,-3-9-5 16,4 9-66-16,-4-9-98 0,0 0-53 0,0 0-70 16,0 0-19-16,0 0-37 0,-3-8-99 15,-1-1-16-15,2-1-416 0,-5-2-414 0</inkml:trace>
  <inkml:trace contextRef="#ctx0" brushRef="#br0" timeOffset="10891.2">18012 7015 72 0,'-13'1'386'0,"1"1"-20"16,2 3-52-16,0 1-31 0,0 1-35 0,-2 3-35 15,2 1 1-15,1 1-35 0,3-2-4 0,-1 4-31 16,2-1 24-16,3-2-22 0,2 1 43 0,1-1 5 16,4-1 6-16,1 3 1 0,5-5-2 0,1 2-41 15,4-5 2-15,2 1-1 0,1-2-17 0,1-1-21 16,7-2 3-16,-3-4-4 0,1-2-18 0,0-2-23 15,-2 0 8-15,3-4-8 0,-1-1-10 0,-4-1-11 16,-1-2-7-16,-4-1-2 0,-2-1 16 0,-3 0-33 16,1-1 14-16,-5 1-32 0,0 2 25 0,-3 1-33 15,-2-2 15-15,2 4-56 0,-4 1-44 0,4 1-99 16,-7 2-97-16,2 2-58 0,1 6-48 0,-8-4-118 16,8 4-100-16,-11 7-428 0,4 1-638 0</inkml:trace>
  <inkml:trace contextRef="#ctx0" brushRef="#br0" timeOffset="11292.19">18529 7824 97 0,'-6'-13'735'0,"2"3"-111"0,0 1-80 16,0 1-95-16,2 2-115 0,2 6-73 0,-5-7-54 15,5 7-22-15,-7 6 13 0,1 1 9 0,2 8-10 16,-2-1-6-16,-1 6-13 0,1 3-30 0,-2 0-20 16,3 1-24-16,0 2-18 0,1 3 3 0,-1 2-34 0,2 1 14 15,2-5-23-15,-1 4 10 0,0-3-2 16,-1 0-6-16,0 0-9 0,1-3-55 0,-1 1-72 16,-1-3-58-16,2-2-64 0,-2-3-26 0,0-1-46 15,0-2-24-15,-4-1-99 0,2-4-39 0,-2-2-96 16,-1-5-298-16,-1 0-379 0</inkml:trace>
  <inkml:trace contextRef="#ctx0" brushRef="#br0" timeOffset="11531.19">18078 7998 359 0,'-6'-12'575'16,"2"3"-143"-16,0 1-104 0,0 1-70 0,4 7-15 16,4-8-15-16,-4 8-43 0,10 0 13 0,1 3-11 15,4 1 10-15,2 2-27 0,4 1-10 0,7 4 3 16,2 0-1-16,4 3 8 0,2 0-1 0,0 2 2 15,-3 3-16-15,3-3-31 0,-2 1 0 0,-8-3-21 16,1 1 0-16,-3 0-32 0,2-1 7 0,-5 1-11 16,-1-2-17-16,-3 0-4 0,-1-2-8 0,0 0-9 15,-4-3-4-15,-1 2 0 0,0-2-2 0,-2-1-9 0,-1-1-5 16,0 0-45-16,-3-1-56 0,2 0-46 16,-7-5-50-16,11 6-56 0,-11-6-165 0,0 0-150 15,0 0-628-15,13-3-798 0</inkml:trace>
  <inkml:trace contextRef="#ctx0" brushRef="#br0" timeOffset="11758.37">18826 8086 440 0,'0'0'769'0,"0"0"-129"0,-4 6-73 15,4-6-104-15,0 0-60 0,0 0-38 0,11-6-29 16,-11 6-14-16,13-7-76 0,-2 3-13 0,1-2-41 15,1 1-8-15,4-2-57 0,-2 1-2 0,1 0-50 16,4-3 5-16,-4 3-25 0,1 0 6 0,0 0-34 16,-2 0 16-16,0 0-69 0,-2 2-27 0,-2 0-76 15,0 0-66-15,-2 0-76 0,0 1-57 0,-9 3-27 16,9-2-68-16,-9 2-68 0,0 0-597 0,0 0-705 16</inkml:trace>
  <inkml:trace contextRef="#ctx0" brushRef="#br0" timeOffset="12882">19549 7394 490 0,'-6'-5'372'0,"6"5"-26"16,-8-4-57-16,8 4-31 0,0 0-55 0,-4-6-45 16,4 6-35-16,0 0-25 0,-5 6-6 0,5-6 6 15,3 11 19-15,-1 1-3 0,2 3-11 0,0 1-33 16,2 4 18-16,3 0-33 0,-2 3 20 0,2 2-11 0,1 2-3 15,-1-2-8-15,0 2-11 0,1-2-7 16,-2-4-9-16,-1 2 1 0,0-2-14 0,0 0 7 16,-3-2-2-16,1-2-1 0,-2 0-2 0,-1-3-2 0,1-1 1 15,-2-2 4-15,1 0-3 0,-2-4 1 0,-2 0-4 16,2-7 0-16,-5 9-6 0,5-9 0 0,0 0-1 16,-13-3 2-16,6-3-3 0,0-2-2 15,-2-4 3-15,2-4-8 0,-5-3-11 0,4-2 20 0,2-3-18 16,-2-3 13-16,2-3-1 0,2 0-4 0,2 4 0 15,2-2-7-15,2 0 3 0,2 0-16 0,4-2 14 16,1 5-14-16,2-1 16 0,1 7-20 16,-1 4 23-16,6 1-6 0,-2 3 3 0,3 5-11 0,-1 4 20 15,2 2-11-15,-1 4 26 0,5 3-16 0,-3 4 28 16,3 3 4-16,-2 1 0 0,0 2 8 0,0 3-6 16,-2 0 24-16,-1 3-2 0,-3-2 27 0,-1 2-1 15,-1 2 2-15,-5-4 16 0,-3 1 20 0,-3-3-5 16,-3 1-15-16,-4 2-7 0,-3-2-6 0,-1 0-16 15,-2 0-7-15,-3-2-16 0,0-2-2 0,-3-1-9 16,2-2-8-16,-2-1 1 0,-1-1-8 0,4-4-5 16,1 1 9-16,-2-3-15 0,5-1-64 0,-3-2-56 15,3 0-53-15,10-2-54 0,-18 0-68 0,18 0-74 16,-13-7-79-16,11-1-45 0,0 0-441 0,2-4-493 16</inkml:trace>
  <inkml:trace contextRef="#ctx0" brushRef="#br0" timeOffset="13057">19931 7440 441 0,'12'-8'492'0,"-3"5"-108"16,-2 1-42-16,-7 2-14 0,18-2-41 0,-9 5-15 15,0 0-34-15,-2 3-34 0,1 2-19 0,0 0-23 0,1 3-27 16,-4-1-36-16,4 4 0 0,-2 0-34 16,0 1 2-16,0-3-7 0,0 4-60 0,-2-1-48 0,2 0-59 15,-1-1-61-15,-2-1-69 0,2 0-44 0,-2-3-48 16,1-1-28-16,-2-3-385 0,-2 0-248 15</inkml:trace>
  <inkml:trace contextRef="#ctx0" brushRef="#br0" timeOffset="13620.65">19965 7302 209 0,'-4'-11'338'0,"-1"1"-90"0,1 3-16 0,0-2-70 16,1 2 2-16,1 3-51 0,-2-3 9 0,4 7-50 15,-4-10 13-15,4 10-42 0,3-10 13 0,-3 10-39 16,7-7 22-16,-7 7-34 0,13-5 20 0,-13 5-32 16,18 0 23-16,-8 2-28 0,3 1 54 0,2 2 11 15,-1 3 29-15,4 3-9 0,-1 1 30 0,1 1 6 16,1 4-13-16,0 1 5 0,-2 1 10 0,-1 0 1 16,1 0-5-16,-4-2-17 0,-2 0 4 0,1 0 2 15,-3-1-22-15,0-2 20 0,-2-2-21 0,0 0 10 16,-2-1-12-16,-1-3 27 0,1 1 14 0,-2-1 50 0,0-3 45 15,1 1-7-15,-4-6-35 0,3 6-33 0,-3-6-35 16,0 0-7-16,0 0-32 0,-2-9 1 16,1 2-29-16,0 0 9 0,2-5-20 0,-1 0-17 15,1 0 9-15,2-3-4 0,1 0-2 0,1 0-4 0,2 3-3 16,-2-2 1-16,3 1-2 0,-1 4-4 16,-1-1 0-16,3 3-19 0,-1-1 20 0,1 5 2 0,-2-1-4 15,-7 4 5-15,18 0 0 0,-18 0 3 16,19 4 0-16,-11-1 2 0,0 1-1 0,-2 1-8 15,3 0 7-15,-1 0 1 0,-3 2-1 0,1-3 1 0,-6-4 1 16,10 9 3-16,-10-9 4 0,5 7 20 16,-5-7 77-16,7 5 12 0,-7-5 7 0,0 0-42 15,0 0 6-15,0 0-43 0,1-7 15 0,-1 0-34 0,0 0 19 16,0-4-27-16,0 1 19 0,3-3-39 0,1-2 9 16,1 1 1-16,2 0-8 0,2-4-1 0,0 1 2 15,4 1-3-15,-2 3-1 0,5 1-4 0,-5 2 1 16,2 3 0-16,4 2-5 0,-3 1 4 0,1 4 5 15,-1 3 5-15,0 1-4 0,0 2-2 0,0 1-40 16,-1 2-29-16,-1 2-15 0,2 2-40 0,-3 1-29 16,-1 3-48-16,1-2-51 0,-4-2-44 0,0 2-15 15,0-1-48-15,0 2-58 0,-3-5-17 0,-1 0-515 16,1-1-534-16</inkml:trace>
  <inkml:trace contextRef="#ctx0" brushRef="#br0" timeOffset="14473.45">20822 7273 353 0,'5'-11'466'0,"-1"3"-104"16,2-2-37-16,1 2-60 0,-1-3-43 0,3 1-29 0,1-2-35 15,-1 1-20-15,0 2-38 0,1-3-8 16,1 2-23-16,-1-2-2 0,1 0-25 0,-2 3 0 16,0-4-14-16,-2 3 4 0,0-1-14 0,0 1 5 15,-3 0-4-15,-2 2 21 0,-2 1-24 0,0 0 7 0,0 7-18 16,-8-9 15-16,8 9-17 0,-15-2 9 0,15 2-11 15,-20 6 26-15,6 0-13 0,-1 2 40 16,2 5-27-16,-2 1 26 0,3 1-12 0,0 2 24 0,3 0-9 16,5 0 19-16,-2 0-18 0,5 0 6 15,2-1-13-15,4 1 11 0,0 0-15 0,4 0 4 0,0-2-14 16,5 0 2-16,0-2-8 0,1-2 0 16,0-3-3-16,1-2-3 0,-2-1 1 0,3-2-6 0,-2-3-4 15,2-3-7-15,-2-2-2 0,2-1-22 0,-3-2-6 16,1-4-22-16,-3-3 18 0,-1 0-10 0,-1-3 17 15,-2 0-14-15,1-2 21 0,-1 2-8 16,-3 3 19-16,-1 1 7 0,-1-1 29 0,0 4 7 0,2 1-1 16,-4 0-18-16,2 4-4 0,-3 6-9 0,4-9-1 15,-4 9-9-15,0 0 11 0,0 0-7 0,0 0 3 16,1 7-7-16,-1-7 5 0,3 11-6 0,-1-4 9 16,2-1-8-16,0 0 9 0,0 2-4 0,2-2 7 15,-2 0-7-15,2 0 5 0,1-1-2 0,-7-5 8 16,11 4-8-16,-11-4 8 0,14 3-9 0,-14-3 7 15,13-5-15-15,-5 2-22 0,-1-2-30 0,0-4-11 16,-1 1-23-16,1-1 21 0,-2 0-3 0,2-1 26 16,-3 1-9-16,0-1 24 0,0 3-5 0,-2 0 40 15,2-1-4-15,-1 3 6 0,-3 5-30 0,5-9 23 16,-5 9-14-16,6-5 19 0,-6 5 0 0,0 0 25 16,12 1-11-16,-12-1 15 0,9 5 2 0,-9-5 23 15,14 5-8-15,-14-5 2 0,13 5-8 0,-13-5 4 16,16 5-11-16,-16-5 8 0,16 0-21 0,-16 0 13 15,19-3-15-15,-10 0 7 0,0-2-25 0,-2-1 21 16,2-1-17-16,0-3 10 0,-1-1-13 0,-2-2 6 16,-1-3 0-16,-1-1-2 0,1-4-11 0,-3-3-17 15,0-1-5-15,-2-3-2 0,0 1 4 0,-1-1-3 16,0 2 49-16,-1 1 49 0,0 2 32 0,-1 3-25 16,3 4 26-16,-1 0-16 0,0 3-17 0,-1 1-28 15,1 4-3-15,0 0-23 0,1 8 7 0,0 0-5 16,0 0-1-16,0 0 12 0,0 0 5 0,4 12 0 0,-2-2 21 15,6 1-26-15,1 2 23 0,1 2-22 16,2 2 22-16,0 0-36 0,5 3 22 0,-1-1-31 16,1 1 23-16,2-1-33 0,-6-2 6 0,2-2-5 15,-2 0 2-15,1-1-5 0,-5-1-25 0,1-2-15 0,-1 1 4 16,-2 0 2-16,-2-2 10 0,-1 0 3 0,-2 0 4 16,-2 0 7-16,-2 0-2 0,-2 1 3 0,-1-3 1 15,-2 2-1-15,-3-3 6 0,-1 1 0 16,0-2 1-16,-4 0 2 0,2-1 0 0,-2 0 3 15,1-2-8-15,1 0-31 0,0-2-49 0,1 0-40 16,12-1-57-16,-22-1-80 0,12 0-67 0,2-3-56 16,3-2-28-16,0 0-98 0,3-1-443 0,1-3-537 15</inkml:trace>
  <inkml:trace contextRef="#ctx0" brushRef="#br0" timeOffset="14626.91">21645 6752 80 0,'10'-11'702'0,"-2"2"-119"0,1 1-113 16,-3 2-55-16,1 1-67 0,-1 2-9 15,4-1-19-15,-10 4 9 0,16 0-32 0,-7 4-50 0,1-1-44 16,-1 2-44-16,1 2-34 0,3 3-4 0,-3 1-31 16,0 0-2-16,4 3-67 0,-3 0-87 0,0-3-102 15,-3 4-82-15,-1-2-106 0,0-2-98 0,0 1-195 16,-4-3-290-16,-2 0-515 0</inkml:trace>
  <inkml:trace contextRef="#ctx0" brushRef="#br0" timeOffset="14788.92">21651 6552 348 0,'-7'-17'729'0,"0"2"-151"0,0-1-82 15,2 2-109-15,-2-1-75 0,3 1-63 0,0 3-44 16,1 1-44-16,-1 0-30 0,0 1-78 0,3 1-97 16,0 1-66-16,1 7-32 0,2-10-58 0,-2 10-68 15,13-5-70-15,-7 1-108 0,6 2-218 0,-1-1-172 16</inkml:trace>
  <inkml:trace contextRef="#ctx0" brushRef="#br0" timeOffset="15022.92">21853 6453 395 0,'7'14'373'0,"-2"0"-21"0,0 1-63 0,0 1-34 15,-1 3-41-15,2 2-16 0,-1-1 9 0,2-1-32 16,2 1-18-16,1 0-17 0,0-2-9 0,3 0-7 16,4 1-12-16,-2-3-19 0,2-1-13 0,-1-2-10 15,3-2-8-15,-1 0-11 0,-1-5-9 0,-2 0 0 0,1-2-4 16,-4-2 0-16,-12-2-7 0,22-2-1 15,-12-2-1-15,-3-2 1 0,-2-2-15 0,-3-1 5 16,-2-2-10-16,-1-2 10 0,-3-1-13 0,-2-2 14 16,-4-1-14-16,-1 1 7 0,0 1-12 15,-2 0 8-15,-2 1-31 0,-1 2-46 0,2 0-58 0,0 3-15 16,2-1-32-16,1 2-60 0,-1-1-16 0,1 3-39 16,4-2-68-16,-1 0-355 0,4 2-216 0</inkml:trace>
  <inkml:trace contextRef="#ctx0" brushRef="#br0" timeOffset="15318.92">22085 6436 289 0,'11'3'429'0,"2"0"-46"0,-3 3-15 0,2 0-67 16,-1 4-25-16,0 2-18 0,1 2 6 0,0 2-56 15,-2 0-9-15,0 0-25 0,-1 1 23 0,1 1-12 0,0-2-20 16,-1 1-31-16,-1-3-17 0,-1-2-15 16,0 0-19-16,-2-2-16 0,-1 0-4 0,1-2 21 15,-1 0 43-15,-1-3 6 0,-3-5-29 0,5 7-18 0,-5-7-16 16,0 0-16-16,5-7-6 0,-4 1-12 0,3-4-11 15,0-3-11-15,1-4-11 0,1-4 11 0,4 1-16 16,2-5 9-16,0 2-13 0,2 0 12 16,-3 5-13-16,2 2 19 0,-3 0-19 0,2 5 16 15,-1 2-18-15,1 2 14 0,0 3-12 0,-1 1 10 16,0 5-10-16,1 0 16 0,-2 1-15 0,0 3 18 16,1 1-19-16,0 1 21 0,-1 2-16 0,0 0 4 0,-1 1 13 15,-2 0 2-15,-1 2-3 0,2-2-51 0,-5 0-65 16,1-2-54-16,0 2-67 0,-4 0-89 0,1-4-106 15,-1 2-68-15,-1-2-133 0,0-1-254 0,1-6-425 16</inkml:trace>
  <inkml:trace contextRef="#ctx0" brushRef="#br0" timeOffset="15762.48">22506 6501 160 0,'2'-8'224'0,"-2"1"-36"0,2-3-13 16,0 1-35-16,-1 0-10 0,1-1 15 0,2 2-22 15,-1-2-10-15,1 2 3 0,2-1-12 0,-2 0-12 16,2 0 16-16,-2 2-7 0,3-2-22 0,0 2 21 16,-2-1-17-16,2 2 11 0,-2-1-31 0,1 0 0 15,-2 1-17-15,2-1 6 0,-3 0-21 0,-1 1 5 16,2 1-15-16,-4 5 2 0,2-11-16 0,-2 11 10 0,-2-12-17 15,1 6 18-15,-3 1 0 0,2-1 8 16,-2 1 1-16,-1 0-7 0,5 5-1 0,-9-8-7 16,9 8-3-16,-11-3 0 0,11 3-3 0,-12 0-2 0,12 0-2 15,-12 7 9-15,8-2 14 0,-1 3-9 0,3 0 8 16,2 2-4-16,1 2 21 0,1-1-7 0,5 2 17 16,1 1-15-16,4 2 12 0,1-1-16 15,0 1 13-15,6 1-23 0,0 1 16 0,1 0-25 0,-1-1 21 16,0 1-23-16,-4-3 16 0,-1-1-20 0,2 1 13 15,-5-2-14-15,-1-1 16 0,-3-1-6 16,-2-2 33-16,-4 1-10 0,-1-2 10 0,0 0-26 0,-4-1 14 16,0-1-17-16,-2 0 13 0,-3 0-23 0,0-1 13 15,0-1-16-15,0-2 10 0,-2 0-68 0,0 1-40 16,0-2-55-16,1 1-93 0,-2-2-62 0,12 0-114 16,-19 0-367-16,19 0-302 0</inkml:trace>
  <inkml:trace contextRef="#ctx0" brushRef="#br0" timeOffset="16280.06">22960 5715 197 0,'-4'-8'530'15,"4"8"-135"-15,0 0-86 0,-2 7-7 0,1 3 21 16,-1 6-26-16,0 3-10 0,2 6-23 0,0 5 4 15,0 8 13-15,2 9-23 0,0 0-18 0,0 5-37 16,1 1-32-16,0 1-30 0,0-2-25 0,-2 1-19 16,4 0-22-16,-1-2-8 0,-1-2-11 0,1-1-5 15,-2-2 3-15,2-4-18 0,2-6-25 0,-2-3-78 16,0-1-75-16,-1-6-20 0,0-3-51 0,1-4-66 16,-1-3-27-16,-1-2-7 0,2-2-57 0,1-6-79 15,-5-6-410-15,9 4-409 0</inkml:trace>
  <inkml:trace contextRef="#ctx0" brushRef="#br0" timeOffset="16599.4">23338 6059 431 0,'16'-7'390'0,"-1"4"-95"0,-3 1-1 0,2 5-33 16,0 3-9-16,0 2-18 0,0 5 12 0,-1 4-25 0,3 3 12 15,-3 2-30-15,2 2-8 0,-2 1-5 16,1-1-27-16,-5 2-25 0,0-5-5 0,1 1-29 15,-3-2 16-15,-2-1-15 0,-1-2 9 0,-2-1-23 16,0-5 25-16,-1 3 19 0,-2-4-3 0,-1-2-18 16,-4-2-19-16,-1-1-21 0,7-5-10 0,-20 0-16 15,7-5-9-15,-5-3-10 0,2-6-1 0,-4-6-7 16,-2-9-4-16,1-3-7 0,-1-4 17 0,3-5-23 16,2-1 19-16,2-1-29 0,5-4 4 0,2 1-8 15,2 1 7-15,5 0-9 0,3 2 5 0,6 2-7 16,2 2 10-16,5 0-10 0,3 6 7 0,3 1-2 0,4 5-9 15,-2 3-41-15,2 7-65 0,0 3-40 16,-3 4-56-16,0 5-51 0,-2 3-47 0,-1 2-61 16,-3 3-32-16,0 4-61 0,-4 2-428 0,-3 1-464 15</inkml:trace>
  <inkml:trace contextRef="#ctx0" brushRef="#br0" timeOffset="17507.02">23262 6105 54 0,'-21'15'537'0,"3"-1"-88"0,4-3-64 0,0-2-53 15,5-2-44-15,3-1-88 0,6-6-18 0,0 0-60 16,0 0-18-16,10 4-12 0,3-8-2 0,5 0-28 16,5-3 0-16,5-1-7 0,3 0-9 0,-1-2-28 15,3-1-47-15,1 2-31 0,-4-2-24 0,2 0-20 16,-1 0-4-16,-3 2 6 0,0-1 15 0,-6 2 38 16,2-1-18-16,-3 3 39 0,-5-1-17 0,2 2 38 0,-5 0 10 15,0 1 48-15,-2 0 11 0,-3 0 19 0,2 2 8 16,-1 0 0-16,-9 2-7 0,14-4-22 15,-14 4-7-15,13-3-11 0,-13 3-15 0,10-3-5 16,-10 3-3-16,0 0 7 0,14 0 22 0,-14 0 14 16,0 0 15-16,16 1 2 0,-16-1-5 0,12 2 2 15,-12-2-9-15,17 0 1 0,-17 0 0 0,20-2-10 0,-7 1-11 16,1-2-8-16,-1 1-5 0,5-1-7 0,-3-1-14 16,2-1 7-16,-2-1-12 0,2 0 7 15,-2-2-11-15,2-2 11 0,-3 1-11 0,-1 0 11 16,-2-2-14-16,-2 2 12 0,1-2-14 0,-6 1 9 15,1 1-17-15,-2 0 12 0,-3 2-15 0,-3 1 7 0,-3 1-13 16,-4 1 19-16,-2 3-13 0,-1-1 14 16,-3 4-11-16,-2 2 17 0,1 1-12 0,-4 4 26 0,1 1 2 15,-1 5 5-15,0 1 2 0,6-1-3 16,1 3 4-16,2 0-8 0,5 0 6 0,-1 1 10 16,4-1 2-16,4 0-1 0,0 0-1 0,4-1 27 0,5 1 3 15,1-2-13-15,5 1-4 0,1-3-5 0,3-2-8 16,1-2-9-16,2-3-3 0,4 0-5 0,-1-4-3 15,-3-3-3-15,6-2-3 0,0-3-5 16,2-2 2-16,-1-4-3 0,-1-1-27 0,4-6-11 16,-4-1 3-16,0-3 2 0,-6 2-4 0,-3 0-6 0,-2-1 19 15,-6 2-13-15,1 2 21 0,-5 0-11 0,0 4 19 16,-6 1-12-16,0 2 12 0,-2 1-14 16,-3 3 13-16,-2 0-10 0,-3 2 12 0,9 4-11 0,-17-2 11 15,17 2-10-15,-20 4 13 0,10-1-16 0,1 1 16 16,-1 0 2-16,2 1-1 0,1 1-9 0,2 0 9 15,0-1-3-15,5-5 8 0,-2 10-5 16,2-10 2-16,1 8-15 0,-1-8-23 0,8 5-12 0,-8-5-16 16,10 1-16-16,-10-1-16 0,13-1 16 0,-13 1 4 15,14-4 30-15,-14 4-9 0,11-2 20 0,-11 2-12 16,12-3 13-16,-12 3-18 0,0 0 26 0,11 1-17 16,-11-1 26-16,9 4 9 0,-9-4 40 0,9 9 1 15,-9-9 3-15,10 9 11 0,-5-4 17 0,3 2 3 16,1-2-2-16,0 0 0 0,1 1 9 15,0-1 1-15,3-2-9 0,-1-1-14 0,2 0-10 0,0-2-2 16,0-2-10-16,1 0-8 0,2-3-1 0,-2 0-10 16,-1-3 2-16,0 0-3 0,2-5-4 0,-4-2-3 15,1 0-3-15,-3-5-52 0,1-5-9 0,-5-2-1 16,2-3 14-16,-6-4 0 0,1-1 12 0,-2 0-1 16,-2 1 86-16,-1 1 28 0,1 4 29 0,1 4 42 15,0 5 23-15,-1 2 26 0,0 0-55 0,1 4-19 0,0 1-56 16,-2 4-1-16,4 3-27 0,-2 6 9 15,0 0-34-15,0 0 6 0,0 0 4 0,11 7-1 16,-4 5 0-16,3 1 0 0,0 5-6 0,3 3-4 16,1 5 12-16,1-2-12 0,-1 3-79 0,0-2-39 15,0 1-48-15,-3 2-86 0,-2-3-83 0,-2-3-80 0,1 2-103 16,-4-3-123-16,-2-4-501 0,0-1-740 16</inkml:trace>
  <inkml:trace contextRef="#ctx0" brushRef="#br0" timeOffset="17905.56">24606 5848 196 0,'3'-9'396'0,"3"1"-66"0,2-2-79 15,1 1-16-15,2-2-52 0,6-1 3 0,0 1-36 16,3 0-4-16,3 0-31 0,1-3-17 0,3 4-18 16,-1-1 5-16,-5 2 2 0,1 1-1 0,-7 3 11 15,2-1-29-15,-4 1 13 0,-3 2-22 0,1 0 56 16,-11 3 35-16,13 2 27 0,-13-2-17 0,8 4-5 15,-8-4-25-15,4 11-3 0,-2-6-10 0,-2 2-7 16,2 2-22-16,0-2 27 0,1 2-27 0,-1 0 0 16,1-1-21-16,1 0 18 0,1 0-9 0,0 0 10 15,1-2-8-15,2-1-9 0,0 0-10 0,-2-2-9 16,-6-3-6-16,18 1-7 0,-9-3-10 0,1 0-6 16,-2-5-8-16,-1 0 1 0,2-1-8 0,0-3-16 15,0-1 10-15,-4 2-8 0,2-4 11 0,-2 2-13 16,1 3 4-16,-3-1 1 0,-1 3 23 0,2 0-2 0,-1-1-7 15,-1 4-13-15,-2 4 5 0,6-6-8 16,-6 6 8-16,0 0-1 0,7 5 8 0,-7-5-3 16,5 11 8-16,-2-3-7 0,1 1 0 0,-2 2 6 0,3 2-10 15,-1-1 12-15,1 3-28 0,0-2-58 16,-2 1-69-16,-2-2-54 0,2 0-36 0,-1 1-49 16,-2-3-23-16,2 1-44 0,-2-4-15 0,0 2-53 0,-2-3-5 15,2-6-391-15,0 7-342 0</inkml:trace>
  <inkml:trace contextRef="#ctx0" brushRef="#br0" timeOffset="18590.56">25186 5699 525 0,'8'-15'416'16,"0"1"-87"-16,2 3-33 0,0-2-44 0,-1 3-30 15,3 3-16-15,-2 3-39 0,0 0 3 0,0 1-9 16,-10 3 7-16,20 5-48 0,-10-1 7 0,-1 1-36 16,0 4 5-16,-3-1-36 0,2 0 8 0,-3 3-30 15,-1 0 12-15,-2-2-24 0,-2 3 12 0,0-1-20 16,0 0 15-16,-2 0-21 0,0-2 15 0,0 1-23 15,-1-2 15-15,2-1-30 0,0 1 22 0,1-8-21 16,-3 8 19-16,3-8-49 0,0 0-2 0,0 0-22 16,0 0 24-16,0 0-14 0,12-1 10 0,-6-3-16 15,2-2 12-15,3-2-19 0,1 0 17 0,-2-3 0 0,3-2 15 16,0-2-7-16,-2-2 10 0,-1-1 1 0,0-2 15 16,1-1-15-16,-4-3 14 0,0 3 0 15,-1-1 20-15,-3 4 24 0,-1 1 33 0,2 3-15 16,-3 1-1-16,-3 2-21 0,-1 2 6 0,-2 1-19 0,1 3 10 15,4 5-17-15,-9-3 15 0,9 3-19 0,-9 2 14 16,9-2-15-16,-10 8 15 0,9-1-16 0,-2 0 15 16,3-7-19-16,-1 14 23 0,2-7-14 0,1 3 27 15,0-2-14-15,1 1 21 0,2-2-23 0,0 0 20 16,1 1-24-16,1-4 24 0,-1 1-27 0,4-3 21 16,-10-2-21-16,16 4 20 0,-16-4-30 0,15-3 29 15,-15 3-27-15,15-3 18 0,-15 3-21 0,14-5 17 16,-14 5-9-16,13-6 31 0,-8 3-18 0,-5 3 13 15,12-8-7-15,-12 8 13 0,7-5-9 0,-7 5 20 16,8-9-12-16,-8 9 9 0,5-7-18 0,-5 7 5 16,4-7-13-16,-4 7 15 0,4-8-3 0,-4 8-1 15,4-7-2-15,-4 7 2 0,1-7-9 0,-1 7 18 16,0 0-1-16,1-8 3 0,-1 8-9 0,0 0 4 0,3-6-12 16,-3 6 2-16,0 0-9 0,0 0 4 15,1-9-8-15,-1 9-3 0,0 0 6 0,0 0 8 16,0 0-8-16,1-6 10 0,-1 6-14 0,0 0 7 15,0 0-17-15,0 0 5 0,0 0-17 0,0 0 14 0,0 0-7 16,0 0 10-16,7 3-13 0,-7-3 7 0,6 8-2 16,-3-3 6-16,1 1-10 0,1 1 12 15,-3 2-10-15,3-1 11 0,-1 2-10 0,1-1 9 0,-1 1-6 16,0-1 6-16,1 2-8 0,-4-2 12 0,2 1-10 16,-3 0 13-16,0-2-8 0,-3 2 10 15,-2-2-14-15,0 0 15 0,1 1-12 0,-5-3 12 0,2 0-16 16,-3 1 14-16,-1-2-59 0,2 0-50 0,-3 0-70 15,0 0-30-15,-1-3-47 0,-1 0-73 0,3 2-49 16,-3-3-88-16,1 0-382 0,-1 1-374 0</inkml:trace>
  <inkml:trace contextRef="#ctx0" brushRef="#br0" timeOffset="19100.61">25953 5164 196 0,'0'0'584'0,"0"0"-144"0,0 0-50 15,0 9-12-15,0 3-10 0,-2 9-25 0,0 7-21 16,-1 6 3-16,-1 8-42 0,1 6-14 0,-1 0-42 16,-1 4-14-16,1-2-59 0,2 1-15 0,-1-1-18 15,1 0-26-15,0-3-16 0,0 1 5 0,2-3-42 16,0-6 22-16,2 0-28 0,-2-2-3 0,2-2-8 15,0-2-32-15,1-6-48 0,-1-1-68 0,2-3-57 16,-1-4-22-16,1-2-42 0,0-4-13 0,1-3-47 16,1-3-104-16,0-2-37 0,-6-5-491 0,13-4-512 15</inkml:trace>
  <inkml:trace contextRef="#ctx0" brushRef="#br0" timeOffset="19554.43">26462 5428 363 0,'11'-18'551'0,"-2"3"-109"16,-5 2-86-16,-3 2-47 0,-2 3-63 0,-3-1-25 0,-3 5-35 16,-5 2-27-16,1 0-12 0,-5 4-20 15,2 2 4-15,-2 1-29 0,0 2-5 0,0 3-28 16,2 2 11-16,0 2 2 0,3 0 4 0,4 1-18 16,0-1 1-16,5 2-18 0,0 1 5 0,4 0-8 0,0-3 4 15,5 2-11-15,2-3 6 0,3 1-12 0,1-2 4 16,6-1-8-16,-1-3 1 0,3 0-12 0,0-6 4 15,-1-1-11-15,3-1 9 0,1-3-14 16,1-5 10-16,1-1-33 0,0-2-21 0,-3-2-5 0,-4 0 18 16,-3-1-4-16,-2 3 5 0,-5-1-3 0,0 2 9 15,-5 1-8-15,-3 5 10 0,-1 4-11 16,-2-9 11-16,2 9-3 0,-10-1 8 0,10 1-7 0,-12 6 8 16,6 0-3-16,1 0 4 0,1 3-2 0,1-1 9 15,2 2 5-15,2 0 19 0,-1 1 13 0,4-1 20 16,1 1-9-16,0-2 7 0,4 1 0 0,0-1 13 15,0 0-17-15,4-3 11 0,-3-2-15 16,-1 1 16-16,2-2-16 0,-11-3 38 0,19 0-12 0,-9-4 6 16,-3 0-18-16,1-2-1 0,-3-1-18 0,0-1-4 15,0 0-18-15,-3-5 3 0,-2 4-12 0,-2-3 1 16,1 1-4-16,-3 0 6 0,-1 0-26 0,1 2-35 16,-1-2-67-16,-1 3-43 0,1-1-59 0,-3 1-22 15,2 0-42-15,-1 3-26 0,2 0-9 0,0 1-64 16,-1-1-21-16,6 5-82 0,-11-6-238 0,11 6-227 15</inkml:trace>
  <inkml:trace contextRef="#ctx0" brushRef="#br0" timeOffset="19982.34">26940 5024 30 0,'1'-7'774'16,"-1"7"-238"-16,1-8-129 0,-1 8-85 0,0 0-21 16,0 0-2-16,2 9-9 0,-1 2-4 0,0 2-5 15,3 4-27-15,1 3-49 0,2 4-4 0,3 4-18 0,-1 2-31 16,2 5-28-16,3 1-21 0,-3 0-30 15,1 0 0-15,-3 0-24 0,3 0 7 0,-3-5-12 16,-2 2-37-16,-3-3-110 0,1 1-71 0,-1-6-83 16,-3 1-58-16,1-3-52 0,-2-3-79 0,1-2-124 15,-1-4-316-15,0-2-445 0</inkml:trace>
  <inkml:trace contextRef="#ctx0" brushRef="#br0" timeOffset="20341.88">27202 5325 480 0,'4'-9'623'0,"1"3"-148"0,-5 6-121 0,5-8-63 16,-5 8-74-16,0 0 2 0,0 0-55 0,6 6 29 15,-6-6-21-15,0 13-5 0,2-3-12 0,0 0-2 16,1 1-25-16,1 3-5 0,-2 1-13 0,6-2 4 16,-1 2-25-16,0-2 16 0,2 1-36 0,1-2 7 15,0 0-28-15,0-1 9 0,4-1-25 0,-3-3 12 16,1-1-19-16,1-2 13 0,-2-3-22 0,1-2 11 15,0-2-21-15,2-4-22 0,-1-2-37 0,-1-3-8 16,2-2-3-16,-2-1 19 0,-1-2 3 0,-2 0 15 16,0-1 3-16,-1 3 75 0,-2 1 33 0,1 1 55 15,-2 0 30-15,0 2 1 0,0 1-23 0,-2 2-41 16,2-1-24-16,-3 5-18 0,-2 4-16 0,5-5-13 16,-5 5 21-16,6 4-33 0,-6-4 25 0,7 11-31 15,-3-1-5-15,2 2 5 0,1 0-2 0,-1 3 4 16,-1 1-5-16,2 2 1 0,2 0 2 0,-3 0-65 15,-1 0-69-15,2-1-47 0,-1-2-104 0,0 1-58 0,-1-1-42 16,-1 0-45-16,0-4-96 0,1-1-62 16,-1-2-369-16,0-2-521 0</inkml:trace>
  <inkml:trace contextRef="#ctx0" brushRef="#br0" timeOffset="20815.89">27769 5343 574 0,'7'-11'604'0,"-2"4"-129"0,0-1-44 0,-1 2-108 0,-4 6-64 15,9-8-68-15,-9 8-8 0,0 0 1 0,11 4 2 16,-6-1 0-16,-1 5-8 0,1 2-10 0,1 1 0 16,0 2-33-16,-1 3 11 0,1 0-44 15,-2-2-2-15,2 1-22 0,-2 0 3 0,1 0-20 0,-2 0 1 16,-2-3-21-16,4 0 6 0,-3-1-22 0,0-2 14 16,0 0-7-16,-1-2 49 0,1-1 35 0,-2-6-32 15,4 6-19-15,-4-6-10 0,0 0-10 0,4-6-10 16,-3-1-9-16,2-3-9 0,1-1-2 0,-1-2-4 15,3 0-1-15,-1 0-8 0,2-2 4 0,0 3 21 16,-1 2-34-16,1-3 24 0,1 4-31 0,-3 0 20 16,3 4-25-16,-1-1 28 0,-1 2-26 0,-6 4-4 15,15-3 4-15,-15 3 5 0,13 2 3 0,-13-2 4 16,14 3-2-16,-14-3 0 0,9 6 7 0,-9-6-4 16,9 5 3-16,-9-5 3 0,8 5 3 0,-8-5 5 15,3 4 33-15,-3-4 47 0,0 0 35 0,0 0 1 0,0 0-16 16,0 0 21-16,0 0 16 0,0 0-24 15,4-8-11-15,-4 8 0 0,0-12-25 0,2 5-6 16,0-3-5-16,1 1 4 0,1 0-10 0,-2 0-7 16,2 2-7-16,0-2-10 0,0 3-11 0,-1 2-11 15,1-3-7-15,0 3-3 0,-4 4-7 0,7-6 1 16,-7 6-2-16,10-3-3 0,-10 3 0 0,11 4 4 16,-11-4-32-16,11 7-73 0,-5-1-51 0,0-1-67 0,-1 2-50 15,1 2-11-15,-4-2-59 0,3 1-60 0,-2 1-13 16,-2 0-29-16,3 0-22 0,-2-1-48 15,0-1-80-15,-2-7-412 0,1 12-598 0</inkml:trace>
  <inkml:trace contextRef="#ctx0" brushRef="#br0" timeOffset="21163.9">28251 5238 342 0,'10'-13'501'15,"-3"1"-75"-15,0-1-67 0,-1 2-35 0,1 1-49 0,-2 2-42 16,0 1-47-16,-1 1-41 0,3-2-28 0,-7 8-30 15,10-5-13-15,-10 5-10 0,10 1-1 0,-10-1 33 16,10 8 13-16,-5-2 2 0,2 1-13 0,-2 2 12 16,0-1-12-16,-1 3 9 0,0-2-17 0,0 3-6 15,-2-3-21-15,2 1-1 0,0-2-16 0,-2 2 1 16,-1-4-10-16,2 1 15 0,-3-7 32 0,3 11 63 16,-3-11 18-16,2 7-21 0,-2-7-28 0,0 0-25 15,0 0-19-15,0 0-10 0,0-9-12 0,3 4-12 16,-1-6-2-16,2 1-8 0,1-3-2 0,2 1-12 15,-1-1 2-15,-1 1 0 0,4-1 3 0,-1 4-6 16,-3-1-3-16,1 2-6 0,2 3-2 0,-3-1-3 0,4 4 1 16,-9 2-14-16,14-3 21 0,-14 3-9 15,17 4 4-15,-10-1-2 0,2 4 0 0,0-1 0 16,0 1 0-16,0 1 4 0,-1 2 0 0,1 0 0 16,-2 0-62-16,-2 0-70 0,1 0-81 0,-2 0-91 15,-2 1-78-15,1-3-79 0,0 2-139 0,-3-3-477 16,2-1-690-16</inkml:trace>
  <inkml:trace contextRef="#ctx0" brushRef="#br0" timeOffset="21676.53">28866 4991 235 0,'0'0'437'0,"-9"-4"-108"0,9 4-65 15,0 0-48-15,-19 3-21 0,12-1-32 0,1 4-24 16,-2 1-18-16,4 2-1 0,-1 0-18 0,2 2-19 16,0 0 9-16,2 2 1 0,1 0 16 0,1 1-1 15,2 1-3-15,-1-1-24 0,3 2-7 0,-1 0-26 16,0-2 8-16,1 2-27 0,-1-4 14 0,-2 0-26 15,1-2 20-15,-2 0-21 0,-1-1 18 0,-1-2-62 16,-3-1-13-16,-2 1-29 0,-1-4-17 0,-2-1-16 16,9-2-45-16,-16 0 12 0,7-2-69 0,-1-2 10 15,1-1-3-15,-1-1 25 0,2 1 37 0,1-1 28 16,0 0 49-16,0 2 50 0,3-1 43 0,-3 1 17 16,7 4-1-16,-8-6-15 0,8 6-12 0,-8-5-6 15,8 5-4-15,0 0 4 0,-7-2-3 0,7 2-60 16,0 0-87-16,-8 2-115 0,8-2-217 0,0 0 54 15</inkml:trace>
  <inkml:trace contextRef="#ctx0" brushRef="#br0" timeOffset="23134.47">18519 8488 165 0,'0'0'400'0,"-5"3"-92"0,5-3-45 15,0 0-45-15,-9 5-33 0,9-5-20 0,0 0-25 16,-8 4-24-16,8-4-23 0,0 0-17 0,0 0-3 16,-6 4 0-16,6-4-10 0,0 0-6 0,0 0 7 15,0 0 18-15,0 0 18 0,1 6 24 0,-1-6 14 16,12 1-2-16,-12-1-13 0,15-1-18 0,-15 1-17 15,23-1-13-15,-8-1-22 0,1-2 7 0,3 2-24 16,-1-2 7-16,5-1-18 0,0-1 8 0,0-1-20 16,1 2 14-16,-1-2-16 0,0 0 10 0,-2 1-13 15,2-1 7-15,-6 2-71 0,0 0-37 0,0 0-94 16,-3 1-50-16,0 0-83 0,-4 2-58 0,0-1-415 16,-10 3-317-16</inkml:trace>
  <inkml:trace contextRef="#ctx0" brushRef="#br0" timeOffset="23459.47">18679 8682 35 0,'-13'10'554'0,"4"-2"-142"0,1-1-65 15,-2 0-46-15,4 0-19 0,-2-3-27 0,4 1-34 16,-2 0-36-16,6-5-21 0,-5 6-5 0,5-6 8 15,0 0 0-15,0 0-1 0,15 1-12 0,-5-3-4 16,8-5-3-16,3-1-10 0,6-2-14 0,3-1-1 16,6-3-18-16,2 1-10 0,-2-1-9 0,1 0-3 15,-7 3 0-15,0 0 0 0,-3-1 12 0,0 1-16 16,-5 2 20-16,-2 1-11 0,-1 0 29 0,-5 1 1 16,0 2 36-16,-2-1 5 0,-2 2 21 0,0 0-16 15,-2 0-11-15,-3-1-41 0,2 0-19 0,-7 5-22 16,10-7-8-16,-10 7-31 0,6-10-73 0,-6 10-78 15,4-7-67-15,-4 7-92 0,1-7-116 0,-1 7-78 16,-1-6-128-16,1 6-199 0,-3-6-342 0,3 6-756 16</inkml:trace>
  <inkml:trace contextRef="#ctx0" brushRef="#br0" timeOffset="54337.53">19963 8095 113 0,'-10'-6'306'0,"0"1"-25"0,0 0-79 0,2-2 17 0,0 1-12 16,-2 0 20-16,2-1-48 0,2 0-6 0,-2-1-23 16,1-1-1-16,2 1 40 0,-2-2-24 0,3 3-2 15,0-1-1-15,0 1-2 0,2 1-46 0,-3 1-22 16,5 5-38-16,-4-9 1 0,4 9-25 0,0 0 7 15,0 0-18-15,0 0 9 0,0 0-22 0,3 6 14 16,-1-1-18-16,3 2 16 0,-1-1-18 0,1 3 19 16,-1-3-22-16,3 2 19 0,1 0-14 0,1-1 9 15,2 2-10-15,3-3 19 0,-2-1-16 0,6 0 9 16,-2-2-16-16,4 1 17 0,3-4-19 0,3 0 18 16,2-3-16-16,5-1 15 0,3-1-14 0,7-1 13 15,-1-4-14-15,7 1 14 0,-2 0-18 0,3-2 15 16,4-1-20-16,-2 1 15 0,11-3-21 0,-3-1 20 15,0 1-26-15,-6 2 16 0,6-3-16 0,1-1 21 0,-1-1-19 16,0 0 18-16,0-1 0 0,0 0-4 16,3-1 1-16,0 0 1 0,0 0-4 0,0-2 10 15,2 1-6-15,-1-1 0 0,0 1 2 0,1 0 1 0,0-1 1 16,-1 1-5-16,-4 1-3 0,3-1 14 16,-2 2-4-16,2-2 0 0,-2 2-15 0,1 1 15 0,-1-1-20 15,-1 2 22-15,0-1-15 0,-2 0 19 0,0-1-20 16,1 2 24-16,1-1-21 0,-10 3 18 0,8-3-20 15,0 1 22-15,-9 1-23 0,8-3 23 0,2 0-22 16,-3 1 20-16,3-1-18 0,1-1 18 0,0 1-17 16,-1-1 20-16,3 1-22 0,1 0 22 15,-4 1-17-15,3 0 18 0,-2 1-21 0,-9 2 21 0,1 1-18 16,-2 0 15-16,10-2-17 0,-6 2 20 0,7-1-20 16,-1-1 18-16,-8 4-15 0,10-4 17 0,-11 2-20 15,10-1 21-15,-7 3-17 0,6-4 15 0,-6 3 1 16,-3 0-9-16,1-1-1 0,-2 1-3 15,1-1 0-15,2 0 0 0,-2 0-4 0,-1 0 2 0,1 0-14 16,1 1 19-16,-2 0-19 0,0 0 19 0,-2-1-23 16,0 2 23-16,0-2-14 0,-4 2 19 0,2-1-19 15,-2 1 17-15,0 2-19 0,1-3 20 0,-3 2-17 16,1-1 21-16,-2 1-15 0,1-1 20 0,2 1-21 16,-2 1 14-16,1-1-18 0,-2 0 28 0,0 1-24 15,3-1 16-15,-3 0-13 0,1 2 15 0,1-2-13 16,-1 0 11-16,-1 2-17 0,3-1 24 0,-3 0-18 15,1 0 16-15,-3 0-15 0,-3 2 17 0,0 0-22 16,0-1 27-16,-2-1-20 0,3 2 18 0,-2-1-21 16,-1 0 17-16,0 0-24 0,1-1 24 0,-1 1-15 15,-1 0 19-15,3-1-19 0,-1 0 4 0,-3-1 1 0,3 1-7 16,-1 0 8-16,-2-1 20 0,0 1-23 16,0-2 22-16,1 2-16 0,-1 0 16 0,0 0-18 15,0-1 13-15,-1 0-21 0,0 2 21 0,-1-2-22 0,2 2 20 16,-2 0-24-16,0-1 23 0,-2 2-20 0,-1 0 15 15,1-1-13-15,-2 3 15 0,-1-1-19 16,0-1 15-16,0 1-14 0,1 1 12 0,-1-2-18 16,1 3 21-16,-2-1-19 0,2 0 17 0,-2 0-18 0,2 2 17 15,-3-2-16-15,-3 1 18 0,2 0-13 0,-3 1 9 16,-2 1-14-16,2-2 16 0,-4 1-15 0,2 0 12 16,-4-1-9-16,-1 2 18 0,1 0 0 15,-3 0 17-15,2 0-2 0,-2-1 11 0,-1 1-9 0,1 0 15 16,-10 2-6-16,14-5 4 0,-5 3-4 0,-9 2-2 15,14-4 1-15,-6-1 8 0,0 2-7 0,-1-1 7 16,1 0 2-16,-2 1 12 0,1-2-6 0,0 0-1 16,0-1-1-16,-1 0 6 0,-1-1-9 0,2 0-6 15,0-1 2-15,-3-1 30 0,1 0-19 0,-1 0 6 16,1 0-20-16,-2-1 12 0,-1 0-20 0,3 1-1 16,-2 0-5-16,-2 1 3 0,2 1-12 0,-2-1 1 15,-1 8-12-15,3-10 5 0,-2 2-8 0,-1 8 4 16,1-9-6-16,-1 9 0 0,0-10-14 0,0 10-57 15,3-7-87-15,-3 7-40 0,0 0-11 0,-5-5-19 16,5 5-76-16,-9 5-98 0,0 0-103 0,-3 2-484 16,-2 1-578-16</inkml:trace>
  <inkml:trace contextRef="#ctx0" brushRef="#br0" timeOffset="67276.56">25531 8890 260 0,'0'0'288'0,"0"0"-71"16,-10 1 6-16,10-1-51 0,0 0 0 0,-10 1-51 15,10-1 6-15,0 0-40 0,0 0 16 0,-9 2-33 16,9-2 22-16,0 0-20 0,-8 2 29 0,8-2-30 15,-10 2-2-15,10-2-20 0,-7 3 11 0,7-3-19 16,-8 3 8-16,8-3-20 0,-8 4 9 0,8-4-17 16,0 0 2-16,-9 5-14 0,9-5 12 0,0 0 13 15,-5 5 12-15,5-5 6 0,0 0 10 0,0 0 3 16,5 9 1-16,-5-9-11 0,12 4-9 0,-2-3-1 16,3 1-4-16,0 0-20 0,4 2 13 0,3-1-21 15,4 0 17-15,3 0-20 0,2 1 20 0,4 1-21 16,2 1 16-16,2-1-1 0,6 3 3 0,-2 0-7 15,1-1-3-15,2 1-4 0,-3 0-3 0,0 1 2 16,-1-1-1-16,-4-1-7 0,-2 1 1 0,-1-2 2 16,1 1 3-16,-2-1-5 0,2 0-2 0,-1 1 1 15,1-1-2-15,-1 0 0 0,1 2 2 0,-1-3-7 16,1 1 6-16,-2 1-2 0,2-2 3 0,-1 0-3 16,-1 1-3-16,0-1 4 0,0-1-2 0,-3 0 0 15,-1 0 0-15,0 1-2 0,0 0-8 0,-2-2 1 16,2 1 20-16,-2 1-9 0,2-2 1 0,-1 2-3 15,-2-3 1-15,3 3 1 0,-1 0 2 0,0 0-2 16,0-1-4-16,-3 0 0 0,4 2 3 0,0-1 1 16,-2-1-2-16,2 0-12 0,-1 1 15 0,0 0-16 15,1-1 18-15,-3 0-33 0,4 3 35 0,-3-4-15 16,1 1 14-16,1 0-12 0,-2 1 12 0,-1-1-13 16,0-1 16-16,0 1-15 0,1-1 15 0,-1 1-18 15,-2 0 21-15,-1-1-22 0,0-1 24 0,-2 1-21 16,-1-1 18-16,2 0-16 0,-1 2 14 0,-2-3-18 15,1 1 20-15,-1 0-16 0,0 0 15 0,0-2-15 16,-3 1 13-16,-1 0-10 0,0 0 31 0,2-1-3 16,-3 0 13-16,-2 1-17 0,2-1 9 0,-13 0-19 15,18 0 12-15,-18 0-14 0,16 0 11 0,-16 0-10 16,13 0 8-16,-13 0-15 0,0 0 14 0,19 0-14 16,-19 0 10-16,0 0-8 0,13 1 8 0,-13-1-11 15,0 0 13-15,0 0-12 0,15 0 9 0,-15 0-7 16,0 0 10-16,0 0 8 0,0 0 16 0,12-1 8 15,-12 1 12-15,0 0 9 0,0 0-12 0,0 0-10 16,0 0-5-16,0 0-8 0,11-3-8 0,-11 3-2 16,0 0-5-16,0 0-3 0,0-6-1 0,0 6-5 15,0 0-6-15,-2-9 5 0,2 9-2 0,0 0-4 16,-4-8-27-16,4 8-54 0,-4-6-58 0,4 6-70 16,-7-5-74-16,7 5-122 0,-12-2-125 0,12 2-327 15,-15-3-400-15</inkml:trace>
  <inkml:trace contextRef="#ctx0" brushRef="#br0" timeOffset="76557.86">13961 12468 160 0,'0'0'216'0,"-4"-6"-33"0,4 6-10 16,-6-6-58-16,6 6 7 0,-3-6-49 15,3 6 15-15,-6-5-32 0,6 5 23 0,-3-5-43 16,3 5 18-16,0 0-40 0,-5-4 26 0,5 4-41 16,0 0 23-16,0 0-30 0,-5-4 27 0,5 4-28 0,0 0 43 15,0 0-12-15,0 0 46 0,0 0-17 16,0 0 45-16,0 0-15 0,0 0 40 0,0 0-7 15,0 0 28-15,0 0-5 0,0 0-22 0,0 0-11 0,16-3-19 16,-2 3 11-16,8 0-18 0,6 0 5 0,3 0-11 16,7 0 7-16,7 0-5 0,5-2-12 0,5 2-9 15,-1 2-23-15,4-2 18 0,-3 0-28 16,0 1 16-16,-3 0-23 0,-3 0 14 0,-8 0-18 0,-4 1 14 16,-7-1-19-16,-1 0 12 0,-4 1-43 0,-4-1-43 15,-4 2-24-15,1-1-33 0,-5 1-30 0,-4 0-58 16,-9-3-42-16,10 6-111 0,-10-6-299 0,-5 9-175 15</inkml:trace>
  <inkml:trace contextRef="#ctx0" brushRef="#br0" timeOffset="76868.86">13920 12782 79 0,'-11'2'487'0,"1"0"-102"0,1 1-32 0,9-3-69 15,-10 3-25-15,10-3-26 0,-10 2-34 0,10-2-43 16,0 0-36-16,7 4-20 0,-7-4-15 16,26 3 10-16,-2-2-11 0,6 0-2 0,7 0-9 0,5 0-14 15,5 2-7-15,4-1-11 0,0-1-7 0,-1 2-8 16,-8-2-5-16,6 3-4 0,-9-2-17 15,2-1 16-15,-4 2-15 0,-4-1 13 0,-3-1-3 0,-5 0-1 16,-4 0-1-16,-2 1-3 0,0-1 4 0,-2 0-12 16,-3-1-38-16,-4 1-40 0,-10-1-61 0,19 2-6 15,-19-2-22-15,9 2-75 0,-9-2-44 0,0 0-440 16,-8 6-233-16</inkml:trace>
  <inkml:trace contextRef="#ctx0" brushRef="#br0" timeOffset="77196.06">13789 13268 264 0,'-11'5'349'0,"2"0"-64"15,1-1-41-15,2 1 3 0,6-5-35 16,-12 6 6-16,12-6-40 0,-5 4-16 0,5-4-18 0,12 3-16 16,4-2-4-16,6 1-20 0,10-2-2 0,7 0-27 15,12 0 5-15,2-2-21 0,3 1 5 0,-1 1-26 16,1-2 8-16,-2 1-22 0,-3 0 8 0,-1 0-22 16,-1 0 22-16,-7-2-26 0,-4 2 14 0,-1 0-16 15,-5 0 14-15,-2 0-17 0,-2-2 16 0,-7 2-22 16,1 0-54-16,-4-1-64 0,-3 2-98 0,-2-1 15 15,-3 2-70-15,-10-1-128 0,13 0-223 0,-13 0-138 16</inkml:trace>
  <inkml:trace contextRef="#ctx0" brushRef="#br0" timeOffset="78895.78">16679 11385 60 0,'-7'-9'380'15,"4"-1"-47"-15,-1 2-52 0,1-2 5 0,1 1-68 16,0-1-37-16,0 2 14 0,0-2-35 0,1 4-39 16,1-2-7-16,0 8-26 0,-1-11-31 0,1 11-21 15,0-9-12-15,0 9-9 0,0 0-5 0,4 8-4 16,-2 0 13-16,1 3 15 0,-2 6-16 0,3 1 30 15,-3 4-30-15,3 2 62 0,-4 2-14 0,3 1-10 16,-2 0-3-16,-1 0-17 0,1-2-3 0,2 3 50 16,-3-3-8-16,0-1 7 0,0-3-28 0,0-2 10 15,-3-1-26-15,2-2 11 0,1-2 24 0,0-2 49 16,-1-1 49-16,1-1 45 0,0-3 26 0,0-7-30 0,-3 13-44 16,3-13-31-16,0 0-29 0,-8 2-23 0,8-2-18 15,-5-9 6-15,0 0-31 0,4-4 3 16,-2-3-51-16,3-2-10 0,2-6-18 0,0-1-8 0,3-6-2 15,-1-4-16-15,5-4-4 0,4-1 7 0,0 0 1 16,1 0 4-16,0 2 6 0,2 1 6 0,1 2 6 16,1 2 3-16,-1 5 3 0,-2 2 6 0,-1 5 2 15,-3 3-5-15,0 2 9 0,-2 6-6 0,-3-3 4 16,3 7 0-16,-3-2 4 0,1 4 3 0,-7 4 0 16,9-2 1-16,-9 2 4 0,0 0-2 0,7 6 3 15,-7-6 1-15,-1 11-2 0,-2-5 3 0,0 3 2 16,-1-2 0-16,-1 2-1 0,0 0 2 0,-3 2 3 15,-1-2-3-15,0 3 5 0,-1-1-2 0,-3 0 3 16,3 0-5-16,-4 0 2 0,-3 1 0 0,2 0-17 16,-2-1-37-16,2-1-34 0,-2 1-14 0,4-3-34 15,-2 0-12-15,2 1-44 0,1-1 38 0,1-1-59 16,0 2-5-16,2-2-3 0,1-1-29 0,3 2-4 16,0-2-18-16,2 1-23 0,3-7-288 0,0 10-93 0</inkml:trace>
  <inkml:trace contextRef="#ctx0" brushRef="#br0" timeOffset="79153.78">17203 11319 76 0,'15'-8'379'16,"2"2"-78"-16,-6-1-80 0,-1 1 1 0,1 0-72 16,-5 0-10-16,-6 6-54 0,5-8 5 0,-5 8-40 15,-4-4 28-15,4 4-29 0,-16 1 22 0,4 1-20 16,-2 3 12-16,-4 1 7 0,-1 2-10 0,2 2-15 15,0 0-4-15,0 1-38 0,0-1 28 0,3 3-31 16,0 2 26-16,3-2-31 0,-1 1 26 0,5 1-3 16,0-1-2-16,3 1-4 0,-1-1 6 0,4 2-4 15,0-3 2-15,2 1-1 0,0 0 0 0,4 0 8 16,-1-1-8-16,1-1-31 0,3 0-34 0,1-1-23 16,-1-3-72-16,1 0-3 0,1-2-97 0,0-3-69 15,0-2-166-15,4-1 35 0</inkml:trace>
  <inkml:trace contextRef="#ctx0" brushRef="#br0" timeOffset="79579.78">17541 11310 50 0,'4'-5'341'0,"-4"5"-78"0,5-7-98 0,-5 7-11 0,0 0-67 15,0 0 12-15,0 0-38 0,0 0 45 0,2 10-30 16,-4-1 11-16,-2 3 10 0,1 1 4 15,0 3-6-15,-2 2 29 0,3 0-13 0,-2 1-21 0,1 0 40 16,2 4-18-16,-2-3-27 0,3 2-14 0,-2-1 8 16,-1 0-11-16,3-2-8 0,-3 1 21 0,2-2-11 15,0-3-14-15,0-1-10 0,-3-2-7 0,4-1 23 16,-1 0 30-16,-1-2 58 0,1-1 39 0,1-8-30 16,-2 9-34-16,2-9-23 0,0 0-23 0,0 0-15 15,-6-3-7-15,6 3-11 0,-1-16-9 0,2 4-7 16,2-3-38-16,0-3-20 0,3-6-22 0,3-3 4 15,0-1-9-15,1-2 17 0,7-3 2 0,-2 0 5 16,3 2 2-16,2 1 1 0,-7 7 2 0,4 2 2 16,-6 4 8-16,1 3-3 0,-2 1 2 0,0 3 5 15,-1 2 3-15,1 2 24 0,-1 3 1 0,0 2 2 0,-9 1 4 16,18 3 3-16,-8 1 3 0,3 5-4 16,-1-1-2-16,-1 4-9 0,2 1 7 0,-2 4-8 15,3 1 9-15,-3 1-9 0,0 5 9 0,1 0-4 0,-5-2-3 16,0 2-54-16,-1 0-67 0,-3-2-42 15,-2 1-36-15,-1-3-78 0,-3 3-17 0,-2-3-69 16,0-1-7-16,-4-4-374 0,-1-3-234 0</inkml:trace>
  <inkml:trace contextRef="#ctx0" brushRef="#br0" timeOffset="79701.83">17676 11589 476 0,'2'-11'374'0,"1"1"-51"0,1-1-103 15,2 1-19-15,4-1-64 0,2 3 10 0,2-2-48 16,-2 2 6-16,3 1-48 0,1 2 18 0,-2 0-38 15,3 2-7-15,-1-1-107 0,-3 3-57 0,-1 0-101 16,0 0-338-16,-12 1-88 0</inkml:trace>
  <inkml:trace contextRef="#ctx0" brushRef="#br0" timeOffset="80318.55">16640 11216 224 0,'9'-6'258'0,"-1"0"-60"0,2 1 3 0,-2 2-60 0,6-2 5 16,-2 3-37-16,1-2 12 0,2 2-42 15,0 4 20-15,2 2-28 0,-1 0 17 0,0 2-37 16,1 4 7-16,0-1-6 0,-2 5 10 0,-2 0 6 0,0 1-16 15,-3 0-32-15,-1 1 23 0,1 2-15 0,-3-3 32 16,-2 1-9-16,-1 0 31 0,-2-1-27 16,0 0 25-16,-2 0-40 0,-2 0 77 0,-3-1 13 0,1-1-7 15,-5 1-1-15,-1-1-3 0,-3-1-4 0,-2-1-12 16,1-1-20-16,-1-2-12 0,-2 0-13 0,-2 0-9 16,2-2-9-16,-1-1-6 0,3 1-4 0,0-3-9 15,-1 2-2-15,5-3-1 0,1 3-38 0,-1-3-71 16,1 0-70-16,10-2-90 0,-13 5-65 0,6-3 9 15,7-2-83-15,-9 5-325 0,9-5-222 0</inkml:trace>
  <inkml:trace contextRef="#ctx0" brushRef="#br0" timeOffset="81956.2">15899 11802 311 0,'0'0'475'0,"-2"-6"-90"16,2 6-59-16,0 0-70 0,-3-7-52 0,3 7-52 16,0 0-36-16,0 0-33 0,0 0-6 0,0 0 43 15,0 11 7-15,0-2-19 0,0 1-11 0,0 3-24 16,0 0 5-16,0 2-13 0,0 1-11 0,0 2-5 16,-1 2-12-16,1-2-9 0,-2 2 5 0,1 0-4 0,1 4-23 15,-2-1 27-15,-1 0-20 0,-1 1 14 16,2 0-61-16,-3-3-37 0,1 1-48 0,0 0-57 15,0-4-47-15,2-1-4 0,-1-2-75 0,0 1-10 0,2-5-283 16,0 0-107-16</inkml:trace>
  <inkml:trace contextRef="#ctx0" brushRef="#br0" timeOffset="82207.31">16398 11900 28 0,'0'0'321'0,"12"-2"-116"15,-12 2-11-15,11-2-74 0,-11 2 0 0,0 0-48 16,12 1 33-16,-12-1-47 0,8 4 36 0,-8-4-13 16,5 9 12-16,-1-4-42 0,-1 2 53 0,-1 0-38 15,1 1 12-15,-2 2-38 0,3 1 21 0,-2-1-36 16,-2 2-5-16,0-1 1 0,1 3-3 0,1 0 4 15,-2 0 4-15,0 3-1 0,0 1-21 0,0-1-72 16,-2 1-77-16,2 0-81 0,2 0-279 0,-2-1-2 16</inkml:trace>
  <inkml:trace contextRef="#ctx0" brushRef="#br0" timeOffset="82465.35">17061 12042 425 0,'0'0'317'0,"10"2"-58"16,-10-2-38-16,10 9-25 0,-6-3-29 0,1 0-33 16,-2 3-17-16,-2 0-5 0,2 3-41 0,-1-2 23 15,-2 4-47-15,2-1 23 0,-2 1-15 0,1 3-6 16,-1 1-8-16,-1 0-9 0,1-1 3 0,0 2 2 15,-2-1-22-15,2 0-92 0,-1 0-14 0,0-1-133 16,-1 0-67-16,1 0-274 0,0-4-80 0</inkml:trace>
  <inkml:trace contextRef="#ctx0" brushRef="#br0" timeOffset="82836.41">17756 12096 257 0,'0'0'279'0,"3"9"-26"15,-3-1-1-15,0 0-52 0,-2 3-22 0,-1 1-39 16,0 1-26-16,1 3-21 0,-2 1-17 0,0 1-13 15,-1 3-5-15,-2 0 9 0,1 1-20 0,-2 1-21 16,1 4-128-16,-4-2-84 0,1 0-376 0,0-3-77 16</inkml:trace>
  <inkml:trace contextRef="#ctx0" brushRef="#br0" timeOffset="84989.81">13721 12398 21 0,'0'0'288'0,"2"-5"-88"0,-2 5-4 0,0 0-64 0,0 0 2 16,0 0-54-16,1-9 8 0,-1 9-45 0,0 0 19 15,0 0-45-15,0 0 22 0,0 0-30 0,0 0 40 16,0 0-9-16,0 0 46 0,0 0-11 0,1-5 35 16,-1 5-10-16,0 0 34 0,0 0-13 0,0 0 3 15,0 0-6-15,0 0-16 0,0 0-19 0,0 0-14 16,0 0-14-16,0 0-9 0,0 0-12 0,0 0-10 0,0 0-3 15,0 0-13-15,-2-6-2 0,2 6-1 16,-13-2 2-16,3 0-3 0,-3 1-4 0,-1-1 4 16,-4 0 11-16,-1-1-19 0,-5 1 3 0,-2-2-9 15,0 0 14-15,2 0-7 0,-3-1-11 0,2 2 12 16,-1-3 1-16,1 2-1 0,-1 0 3 0,4 1 2 0,1-1-3 16,2 1-2-16,2 0 1 0,0-1 1 15,6 3 0-15,-2-1-6 0,3 1 5 0,-1 0-11 0,11 1-1 16,-15-3-1-16,15 3 0 0,-14 1 5 0,14-1 2 15,-9 5 3-15,9-5 0 0,-7 9-1 16,5-1 1-16,0 0 12 0,2 3-13 0,-2 1 11 16,2 0-8-16,0 2 7 0,2 4-15 0,-1 0 16 0,0 1-11 15,-1 1 10-15,2-1-15 0,-2 3 14 0,1 1-11 16,-1 3 12-16,0-2-15 0,-1 1 18 0,-1 0-15 16,1-1 13-16,-2 3-6 0,1-3-6 0,-1-2 2 15,1 2 1-15,-2 1 2 0,1-4 4 0,-2 2-1 16,1-3 1-16,2 2 2 0,-2-1 17 0,0-3 33 15,2 1-16-15,-1 0-10 0,-2 0-7 0,2-1 8 16,-2 0-15-16,3 0 1 0,-1-1-4 0,-1-1 2 16,2 1-9-16,-1-1 5 0,-1 0-8 0,2-3 8 15,-1 1-3-15,1-2 4 0,-1 0-9 0,-2 0 13 16,4-1-5-16,-2-2 5 0,2 1-7 0,-2 0 7 16,2-2-11-16,-2 1 6 0,2-1-11 0,0-2 10 15,-2 0-7-15,2 1 7 0,0-1-9 0,1-6 5 16,-3 10-6-16,3-10 9 0,0 9-14 0,0-9 11 15,-2 8-11-15,2-8 14 0,-2 7-9 0,2-7 10 0,0 0-12 16,-2 8 11-16,2-8-9 0,0 0 7 16,-1 5-6-16,1-5 10 0,0 0-9 0,5 7 14 15,-5-7-16-15,9 4 14 0,-9-4-8 0,15 2 9 16,-5 0-14-16,3-2 10 0,1 3-11 0,0-1 8 16,0-1-10-16,4 1 14 0,1-1-12 0,-1 1 8 0,1 0-11 15,2 0 12-15,-3-1-23 0,1 1 26 0,-2 0-12 16,0-1 9-16,-3 1-20 0,0-1 26 0,-2 1-15 15,1-1 19-15,-2 0 9 0,-11-1 23 0,16 2-2 16,-16-2 18-16,15 1-24 0,-15-1 10 0,10 0-20 16,-10 0 11-16,0 0-38 0,0 0-65 0,0 0-86 15,0 0-136-15,-2 7-135 0,-6-3-411 0,-2-1-364 16</inkml:trace>
  <inkml:trace contextRef="#ctx0" brushRef="#br0" timeOffset="90228.81">15785 12439 209 0,'0'0'293'0,"0"0"-77"16,0 0-7-16,-5-4-61 0,5 4 14 0,0 0-46 15,0 0 21-15,-1-6-49 0,1 6 17 0,0 0-45 16,0 0 25-16,-1-8-34 0,1 8 16 0,0 0-25 0,0 0 11 15,0 0-31-15,0 0 16 0,0 0-30 16,0 0 15-16,0-6-30 0,0 6 21 0,0 0-30 16,0 0 17-16,0 0-25 0,0 0 27 0,0 0-28 0,0 0 28 15,0 0-26-15,0 0 27 0,0 7-28 0,0-7 29 16,0 9-24-16,0-9 24 0,1 9-21 0,-1-9 24 16,0 11-23-16,0-11 26 0,3 13-23 0,-3-13 29 15,1 12-28-15,1-4 21 0,-2-8-22 0,0 12 23 16,2-7-26-16,-2-5 32 0,1 11-29 0,-1-11 28 15,1 11-29-15,-1-11 41 0,3 9 6 0,-3-9 25 16,4 8-23-16,-4-8 18 0,6 8-24 0,-1-4 11 16,3-1-27-16,-1 2 17 0,1-2-24 0,4 0 15 15,-1 0-13-15,2 0 11 0,2 1-22 0,1 0 19 16,0-2-21-16,0 2 23 0,1-3-26 0,1 2 24 16,3 1-25-16,-1-1 19 0,-1 0-18 0,6 0 17 15,-1 0-17-15,0 0-8 0,2 2 16 0,-2-2 14 16,3 1-20-16,-2-2 17 0,2 1-21 0,0 1 20 15,-1 0-19-15,-2-1 19 0,4 1-21 0,0-1 19 16,-1 0-20-16,1 2 19 0,0-2-16 0,0 1 18 16,2-1-14-16,-2 1 10 0,1 0-16 0,-3-1 19 15,3 1-16-15,1-1 15 0,-2 1 1 0,0 0 4 0,-1-1-18 16,1 1 19-16,-1-1-13 0,-1 0 21 0,1 0-20 16,-2 1 14-16,0-1-11 0,1-1 11 15,-1 1-13-15,1 0 11 0,-2-1-14 0,2 2 10 16,-1 0-12-16,1-2 13 0,-1 1-17 0,1 0 16 0,-3-1-14 15,3 2 13-15,-1 0-14 0,-2-2 13 0,-2 2-9 16,-1-2 9-16,2 0-12 0,-3 0 16 0,0 1-14 16,1 0 14-16,-2-1-14 0,2 0 14 0,-1 1-9 15,-4-1 7-15,4-1-12 0,-5 2 15 0,2-1-17 16,-2 1 17-16,0-2-14 0,-1 1 9 0,-2-1-8 16,2 1 10-16,-2-1-12 0,2 1 12 0,-3-2-11 15,2 1 11-15,-1 0-7 0,0 1 6 0,-1 0-6 16,1 0 5-16,-2-1-7 0,2 0-1 0,1 1 9 15,-3-1-4-15,3 1 3 0,-12-2-1 0,20 2 8 16,-20-2 15-16,18 2 11 0,-18-2 26 0,14 1 26 0,-14-1 18 16,15 0 8-16,-15 0-21 0,12 0-17 15,-12 0 10-15,12-1-6 0,-12 1-1 0,12-4-9 16,-12 4-4-16,9-7 1 0,-9 7-9 0,9-9-2 0,-5 4 17 16,2-1-18-16,-3 0-4 0,1 0-10 15,-2-1-6-15,1 1-9 0,-2-1-6 0,2-1-3 16,-1 1-6-16,-2 2-3 0,2-3-1 0,-2 8-1 15,1-12-3-15,-1 12 3 0,1-11-4 0,-1 11-29 0,0-8-81 16,0 8-89-16,0-9-5 0,0 9-27 0,0 0-37 16,-9-2-48-16,9 2-125 0,-10 2-417 0,10-2-394 15</inkml:trace>
  <inkml:trace contextRef="#ctx0" brushRef="#br0" timeOffset="91670.22">18621 10974 285 0,'0'0'480'16,"-10"-4"-56"-16,10 4-52 0,-10-2-47 0,10 2-54 16,-5-5-66-16,5 5-51 0,0-8-28 0,0 8-35 15,9-8-18-15,-2 3-8 0,5-1-9 0,2 2-18 16,4-1-5-16,2-1-3 0,5 1-7 0,0 0-3 16,3 2-2-16,-2 1-6 0,2 0-30 0,1 2-42 15,-2 0-66-15,-1 2-47 0,-1 1-66 0,0-1-47 16,-6 3-410-16,-1-2-206 0</inkml:trace>
  <inkml:trace contextRef="#ctx0" brushRef="#br0" timeOffset="91850.22">18823 11094 331 0,'-14'4'384'0,"3"0"2"0,0-2-42 16,4 1-26-16,7-3-25 0,-14 3-31 0,14-3-62 15,-12 3-41-15,12-3-40 0,0 0-24 0,0 0-21 0,0 0-11 16,13-8-17-16,2 7-19 0,-2-1 3 15,8 0-15-15,0-1 0 0,-1 1-52 0,1 1-32 0,2-2-58 16,-2 2-26-16,0 0-73 0,0-1-8 0,-2 2-76 16,1-1-54-16,-2 0-150 0,0 0-12 0</inkml:trace>
  <inkml:trace contextRef="#ctx0" brushRef="#br0" timeOffset="92294.81">19589 10586 205 0,'0'0'256'0,"4"-7"-93"0,-4 7-26 0,0 0-58 16,2-7 9-16,-2 7-40 0,0 0 24 0,0 0-31 0,0 0 0 15,-9 7 14-15,5-4 10 0,-2 4-1 0,-3 1-18 16,0 0 35-16,0 3-4 0,-4 3-3 16,2 0-13-16,-1 2-1 0,-3 1-1 0,5 1-1 15,-3 1-8-15,1 0 15 0,2 2-34 0,3 0 15 0,-1 1-28 16,2 0 24-16,-1-1-24 0,5 0 28 0,-1-2-22 16,2-1 24-16,1 0-27 0,2 0 17 0,0-1-16 15,1-1 23-15,3-1-14 0,-1-2 19 0,1 0-15 16,4 0 11-16,-1-5 6 0,0-1 0 0,3 1-3 15,-3-3 15-15,2-1-3 0,-1-3-9 0,2 0-2 16,-2-2-14-16,0-2 17 0,-1 0-15 16,0-2 1-16,-1-2-17 0,-2-1 5 0,-1-1-4 0,-1 0-5 15,-4-1-2-15,1-1-7 0,-2-1-4 0,-1 3 0 16,-2-2 2-16,-1 1-3 0,-3-1 0 0,0 3 0 16,-1-2-46-16,2 4-38 0,-2 0-36 0,0 0-25 15,1 4-30-15,-1-2-28 0,9 4-78 0,-11-3-9 16,11 3-303-16,-9-2-105 0</inkml:trace>
  <inkml:trace contextRef="#ctx0" brushRef="#br0" timeOffset="92606.8">19857 10802 394 0,'0'0'261'0,"0"0"-20"16,0 0-56-16,0 0-5 0,0 0-65 0,-14 2 7 0,14-2-45 15,-9 8 4-15,5-1-33 0,-2 0 32 0,3 0-28 16,1 2 20-16,-2 0-26 0,4 0 28 0,4 2-24 16,0-2 28-16,2 2-16 0,2-1 18 15,2 1-30-15,1-2 8 0,2-1-22 0,1-1 8 0,-1-1-13 16,2-1 16-16,-1-1 3 0,2-3-9 0,-3-1-3 16,-1-2-6-16,4-3 0 0,-3-3-10 0,-1 1-2 15,-3-2-6-15,0-2 3 0,-4-1-12 0,0-3 0 16,-3 4-4-16,-2-1 0 0,-2-2 1 0,-4 3-29 15,0-2 31-15,-1 3-19 0,-3 2 24 0,-3 3-39 16,0-2-15-16,-1 5-36 0,0 1-29 0,-1 1-28 0,-2 2-66 16,-2 4-24-16,-1 0-395 0,1 1-132 15</inkml:trace>
  <inkml:trace contextRef="#ctx0" brushRef="#br0" timeOffset="92882.38">19388 11283 644 0,'-14'2'573'0,"14"-2"-129"0,-15-3-64 0,15 3-63 15,-8-5-62-15,8 5-46 0,6-6-39 0,2 2-32 16,8-2-28-16,1 2-20 0,10-1-18 0,5 0-10 16,5 2-15-16,2 1-7 0,1-1-69 0,1 1-56 15,0 2-71-15,1 2-108 0,-1-1-95 0,-2-1-479 16,-2 3-381-16</inkml:trace>
  <inkml:trace contextRef="#ctx0" brushRef="#br0" timeOffset="95423.38">18542 8646 102 0,'0'0'258'0,"0"0"-101"0,-9-4 27 15,9 4-64-15,0 0 17 0,-11-4-32 0,11 4 27 16,-7-5-43-16,7 5 9 0,-6-4-14 0,6 4 15 16,-8-3-38-16,8 3 18 0,-4-6-35 0,4 6 18 15,-6-5-35-15,6 5 22 0,0 0-32 0,-4-6 20 16,4 6-33-16,0 0 21 0,4-9-29 0,2 5 27 16,-1-1-35-16,3-1 6 0,4-3-1 0,2 2 2 15,2-5 2-15,5 2 0 0,6-2 1 0,1-4-4 16,7 0 7-16,5-2-6 0,2 0 2 0,2 0 3 15,8-3 2-15,-6 1-1 0,0 2 0 0,2 2 3 16,-1-2 26-16,-2 3-32 0,-2-2 26 0,-2 3-26 16,-3 0 26-16,-2 0-26 0,-8 3 31 0,0 1-25 15,-7 2 35-15,-2 1 19 0,-4 0 33 0,0 2-7 16,-3-1-16-16,-3 2-18 0,-1-1-13 0,-1 0-4 16,-7 5-13-16,9-7-3 0,-9 7-5 0,0 0 1 15,1-7-9-15,-1 7-65 0,0 0-52 0,0 0-120 16,0 0-120-16,-11 4-215 0,11-4-80 0</inkml:trace>
  <inkml:trace contextRef="#ctx0" brushRef="#br0" timeOffset="104285.55">18919 11765 116 0,'0'0'472'0,"0"0"-128"16,0 0-62-16,0 0-39 0,0 0 12 0,0 0-74 0,0 7-27 15,0-7 21-15,-4 8-36 0,4-8-30 0,-2 12-1 16,-1-4-9-16,3 0-17 0,-1-1-21 0,0 1-4 16,1 2-7-16,0-2-10 0,1 5-6 0,-1-3-5 15,1 1 0-15,0 1-10 0,2 0 5 0,-2 1-4 16,1 0-3-16,0 2-61 0,-2-1-52 0,1 2 1 16,1 0-63-16,-1-2-9 0,-1 0-41 0,0 1-58 15,1-2-41-15,2-1-254 0,-2-1-75 0</inkml:trace>
  <inkml:trace contextRef="#ctx0" brushRef="#br0" timeOffset="104682.18">19122 11846 301 0,'3'-8'361'0,"-2"0"-121"16,2 3-4-16,-1-1-48 0,-2 6-2 0,3-10-52 15,-3 10-34-15,1-8-36 0,-1 8 6 0,0 0-40 16,6-7 17-16,-6 7-39 0,0 0 23 0,0 0-34 0,4 4 26 16,-4-4-33-16,0 11 30 0,3-5-31 0,-2 1 26 15,2 3-28-15,-1-2 31 0,-1 4-13 0,2-1 17 16,0 1-27-16,1 1 5 0,-1 0 9 0,2 1 28 16,0-1-2-16,1-1-3 0,-1-1 1 0,0 0 19 15,0-2 27-15,1 0 15 0,1-1-16 0,-1 0-31 16,1-1 46-16,-1-3-4 0,1 1-8 0,1-2-2 15,-8-3-3-15,16 3-1 0,-16-3-12 0,16-3-8 16,-7 1-10-16,1-3-4 0,-3 1-6 0,-1-4-12 16,1-1 1-16,-1 0-4 0,0-3-3 0,-3 1-3 15,-2-1-2-15,2-1-6 0,-3 1-2 0,-3-2 3 16,0 1-4-16,0-2-1 0,-5 2-3 0,-1 1-3 16,0 1-15-16,-2 1-21 0,-1 3-16 0,-1 2-24 15,-3 1-38-15,2 4-27 0,-3 0-11 0,2 3-54 16,-2 0 0-16,1 3-81 0,0 1-51 0,3-1-204 15,-2 2-52-15</inkml:trace>
  <inkml:trace contextRef="#ctx0" brushRef="#br0" timeOffset="105024.17">18804 12468 186 0,'-5'6'469'0,"5"-6"-84"16,-5 7-54-16,5-7-64 0,0 0-23 0,0 0-41 15,13-5-9-15,-3 1-33 0,4-5-23 0,5 0-10 16,8-5-18-16,2 0-17 0,5-2-16 0,1-3-16 16,2 3-30-16,2-1 17 0,-1 0-30 0,-1 1 19 15,-1 3-21-15,0 0 15 0,-7 2-54 0,1 1-44 0,-2 2-31 16,-4 2-34-16,0 1-22 0,-6 1-68 16,1 2-44-16,0 1-104 0,-6 1-224 0,0 1-107 15</inkml:trace>
  <inkml:trace contextRef="#ctx0" brushRef="#br0" timeOffset="105296.17">18793 12582 361 0,'-11'5'484'15,"2"1"-82"-15,3-2-90 0,6-4-46 16,0 0-11-16,0 0-27 0,0 0-27 0,10-7-14 0,3 3-26 15,5-3-24-15,2-2-22 0,7 0-20 0,3-1-18 16,2-1-13-16,5-1-13 0,1 0-10 0,0 0-7 16,-2 0 0-16,-4 1-8 0,-1 2-9 0,-2-2 3 15,-1 1 2-15,-5 2-5 0,-2 0-2 0,-5 2 1 16,0-2-1-16,-2 2-6 0,-3 2-31 0,2-2-20 16,-4 1-36-16,-1 1-33 0,-2-1-80 0,-6 5-13 15,10-7-34-15,-10 7-41 0,0 0-60 0,3-7-344 16,-3 7-191-16</inkml:trace>
  <inkml:trace contextRef="#ctx0" brushRef="#br0" timeOffset="106417.28">19757 11269 211 0,'0'0'274'0,"0"0"-98"0,0 0 22 0,0 0-61 16,-3-6 5-16,3 6-57 0,0 0 18 0,0 0-23 15,-3-6 19-15,3 6-30 0,0 0 25 0,0 0-33 16,0 0-6-16,0 0-13 0,-2-6-6 0,2 6-11 16,0 0-12-16,0 0-4 0,0 0-6 0,0 0-5 0,0 0-3 15,0 0-2-15,0 0 27 0,0 0-30 16,-7 3-4-16,7-3 7 0,-4 9 4 0,-1-3 7 16,1 1 8-16,-3 3 16 0,0 1 12 0,0 2-24 15,-1 1 29-15,-3 3-1 0,0 1 40 0,2 1-27 16,-5 4 49-16,-1-1-32 0,0 3 11 0,-1 0-9 0,1-1 0 15,-1-1-23-15,1 1 9 0,1 0 4 16,0-2-8-16,1-1-4 0,2-2-7 0,-2-1-16 0,5-1-1 16,-1-4-7-16,1 1-11 0,1-3 7 0,2-1-8 15,0-1 0-15,1 0-3 0,-1-1 4 0,1 0-30 16,2-2 5-16,2-6-11 0,-2 9-16 0,2-9-43 16,0 9-21-16,0-9-49 0,0 0-53 0,5 4-30 15,-5-4-94-15,9-3-273 0,-5-2-114 0</inkml:trace>
  <inkml:trace contextRef="#ctx0" brushRef="#br0" timeOffset="106748.85">19885 11290 86 0,'0'0'285'0,"5"5"-103"0,-5-5-36 0,0 9-14 15,0-9 21-15,0 10-12 0,0-1 25 0,-1-2-33 16,-2 4-47-16,2-2 48 0,-3 6-6 16,-2-1-14-16,0 1-15 0,-1-1-18 0,-1 3-8 0,0 1 4 15,-1 0-8-15,-3 0 2 0,-1 1-6 0,1 1-11 16,-5 1-9-16,3 0-9 0,-4-1 0 0,4-2-7 15,0-1 1-15,0 0-11 0,-1-2-4 0,2 0 1 16,1 0-1-16,-2-3-2 0,3 0-2 0,-1-2 0 16,3 0-48-16,2-1-27 0,-1-2-22 15,0-1-25-15,3 1-35 0,-1-2-34 0,1 0-11 0,5-5-67 16,-7 6-267-16,7-6-27 0</inkml:trace>
  <inkml:trace contextRef="#ctx0" brushRef="#br0" timeOffset="107393.49">19368 11585 281 0,'0'0'275'0,"0"0"-31"16,0 0-36-16,-4-6-21 0,4 6-26 0,0 0-28 16,0 0-27-16,0 0-25 0,0 0-19 0,0 0-24 15,0 0-13-15,0 0-8 0,0 0-8 0,0 0 1 16,0 0 7-16,-2 10 20 0,2-10-7 0,3 14-4 16,-2-6 8-16,1 2 18 0,0 2 29 0,-2 1-1 0,3 1-7 15,-2 2-15-15,2-2-13 0,-1 2-9 16,1 0 10-16,-2 0 11 0,4 0-7 0,-2-2-12 15,-1-2-6-15,1 2-6 0,-1-1-7 0,2-2 0 0,-3 0-6 16,2-1 9-16,1 1 34 16,-2-3-3-16,1 2-11 0,1-3-3 0,-2 0-2 0,0-1-6 0,0 0 2 15,1 0 3-15,-3-6 11 0,5 10 12 16,-5-10-2-16,9 6-7 0,-2-3-10 0,-7-3-4 0,16 4-7 16,-6-3-4-16,5-1-6 0,-2-1-3 0,6-1-2 15,2-1 0-15,2-1-4 0,2 0-5 0,2-2-1 16,5-1-1-16,0 2 1 0,1-4-1 0,-1 1-3 15,0 2 4-15,-2-2-1 0,-2 1 1 0,-3 0-2 16,-2 0 2-16,-4 2-1 0,3-3 0 0,-5 2 0 16,-2 2 4-16,0-2 4 0,-4 3-1 0,-1-1 0 0,0 1 1 15,-2 0-1-15,-1-1-16 0,-7 4-60 16,11-3-61-16,-11 3-62 0,0 0-64 0,0 0-58 16,-4 9-156-16,0-4-215 0,0 1-191 0</inkml:trace>
  <inkml:trace contextRef="#ctx0" brushRef="#br0" timeOffset="108448.49">19282 11751 268 0,'1'-8'287'0,"1"1"-90"16,-2-1-40-16,0 0 8 0,0 1-44 0,1 0-28 16,-2-1 24-16,1 0 7 0,0 1 3 0,0 0-25 15,0 0 2-15,-2-1-4 0,1 1 10 0,1 7-16 16,0-13-18-16,-1 7-16 0,-2 0-4 0,3 6 2 16,-1-13-15-16,-2 7-9 0,1 1-8 0,2 5-8 15,-5-11-6-15,5 11-32 0,-10-7 32 0,3 3-4 16,-2 2-4-16,-1-1-1 0,10 3-2 0,-21-2 3 0,9 4-8 15,0 0 4-15,-4 1-12 0,0 2 7 16,0 0 0-16,-2 3 2 0,-3 2 2 0,3 2-5 16,-6 2 0-16,1 2 0 0,0 3 5 0,-5 4-2 0,4 0 3 15,-2 1 5-15,2 2-3 0,1 0 4 0,1 2 18 16,-1 0 1-16,3 0-35 0,-1 0 41 0,3 0-30 16,3-2 35-16,2 0-36 0,0 1 0 15,1 0 1-15,1-1 32 0,4 3-38 0,-1-3 40 0,2-2-35 16,2 2 30-16,1-4-37 0,3 2 41 0,0 0-39 15,3-1 41-15,1 0 1 0,2-2-4 0,2 1-3 16,1-2 0-16,2-1-9 0,3-1 1 0,3 2-6 16,2-4-5-16,-1 0 3 0,6-1-1 0,0-2-2 15,3-2 1-15,0-2 2 0,1 0-8 0,-2-4 6 16,1-1-2-16,2 0-5 0,1-3 11 0,-1-1-9 16,0-1 3-16,6-3-6 0,-2-1 2 0,-1-2 1 15,4 0 10-15,-4-4 2 0,2-2 13 0,3-2 2 16,-4 0 3-16,1-4-15 0,-2-1 21 0,-3-4-11 15,2-1 15-15,-4 0-17 0,-2-3 9 0,-1 0-25 16,-3-3 17-16,-1-1-6 0,-4 0 7 0,0-1-3 16,-7 3 1-16,1 1 9 0,-3 0 3 0,-5 4-4 15,0-2-7-15,-4 2-7 0,-2-1-2 0,-4-1-10 0,-3 1-1 16,-3 0 3-16,-6-2-4 0,-2 2-4 0,-3 2-1 16,-2 2-7-16,-3 1 7 0,3 7-4 15,-2 2 5-15,-2 0-9 0,-2 3-40 0,1 4-43 16,0 2-32-16,0 3-17 0,-3 3-34 0,-2 2-31 0,-4 4-35 15,2 4-32-15,0 0-23 0,4 2-136 0,1 2-180 16,2-1-120-16</inkml:trace>
  <inkml:trace contextRef="#ctx0" brushRef="#br0" timeOffset="-214330.26">26937 13004 438 0,'0'0'567'15,"-11"-4"-121"-15,11 4-29 0,-9-4-59 16,9 4-72-16,0 0-56 0,-7-5-48 0,7 5-40 16,0 0-6-16,11-5-27 0,-2 3-25 0,3 1-1 0,1 0-30 15,6-1 0-15,2 2-13 0,-1 0 4 0,3 0-26 16,0 2 11-16,5-2-20 0,-1 1-18 0,0 0-50 16,1 1-29-16,0 0-54 0,-1 0-48 0,1 1-54 15,-2 0-53-15,-1-1-64 0,-3 0-381 0,0 0-249 16</inkml:trace>
  <inkml:trace contextRef="#ctx0" brushRef="#br0" timeOffset="-213611.12">28039 12705 361 0,'-1'-8'498'0,"1"1"-67"0,0 7-62 16,-2-13-83-16,2 13-53 0,-1-9-58 0,1 9 0 16,0 0-14-16,0 0 33 0,0 0-22 0,-9 4 2 15,9-4-20-15,-1 12-10 0,1-2 2 0,1-1-19 16,0 3-17-16,3 2 9 0,0 0-16 0,4 0-16 15,-1 2-11-15,2 0-18 0,-1 0-5 0,5 0-11 16,-2 0-2-16,3-2-14 0,-2 0 6 0,1 1-12 16,2-5 0-16,-1 3 0 0,-1-4-3 0,0 0-4 15,1-4 1-15,-3 2 1 0,3-3 0 0,0-1-4 16,-14-3-3-16,23-1-3 0,-11-3 2 0,-1-2 5 16,3-2-7-16,-1-4 1 0,0 0-3 0,0-4-1 15,1-2-2-15,0-2-17 0,-1-2 16 0,2 1-14 16,-5 3 16-16,3 0-16 0,-3 1 20 0,0 1-16 0,-1 3 19 15,0 0-7-15,-2 3 30 0,-2 1-17 16,2 1 5-16,-3 1-15 0,1 0 10 0,-1 2-21 16,0 0 14-16,-4 5-20 0,5-5 21 0,-5 5 21 15,0 0 54-15,10 5-15 0,-10-5-17 0,5 10 11 0,-1-2 14 16,0 2-6-16,-1 1-6 0,-1 0-8 0,1 4 24 16,-2 2-31-16,3 0 20 0,-3-1-29 15,2 4 19-15,-1-1-21 0,0 3 20 0,-1 3-29 16,-1-1 13-16,0 1-35 0,0-3 23 0,0 4-23 15,-1-3-3-15,-1-2 4 0,2-1-12 0,-2 2 10 0,-2-3 2 16,1-1-6-16,2-1 7 0,-3 1-5 0,3-3-45 16,-2-2-41-16,2-3-27 0,-1 3-30 15,0-3-33-15,2-1-25 0,-2-2-8 0,2 0-28 0,0-7 4 16,-3 11-79-16,3-11-120 0,0 0-81 0,9 3-499 16,-9-3-607-16</inkml:trace>
  <inkml:trace contextRef="#ctx0" brushRef="#br0" timeOffset="-213270.11">29106 12511 590 0,'5'-4'435'16,"-5"4"-110"-16,0 0-23 0,0 0 10 0,0 0-36 15,-1 7 0-15,-7 2-25 0,-5 4-16 0,-4 2-27 16,-4 4-9-16,-8 5 11 0,-2 1-6 0,-3 0-24 16,-7 8-6-16,-2-1-4 0,-1-2-15 0,-2 3-8 15,-2-3-19-15,2 1 19 0,-1-1-44 0,2 0 13 16,-3 0-27-16,4-1 18 0,2-5-34 0,5-2 17 16,0 2-34-16,1-2 8 0,2 0-32 0,-1-2 17 15,5-2-28-15,5-2 17 0,2-3-25 0,3 0 18 16,3-2-29-16,-1-2 23 0,5-1-25 0,2-1 29 0,1-2-20 15,1 0 19-15,1 0-13 0,-1-1 11 16,9-4-116-16,-9 1-82 0,9-1-93 0,-5-3-84 16,5 3-63-16,0-9-85 0,3 3-119 0,1-1-491 15,-1 0-724-15</inkml:trace>
  <inkml:trace contextRef="#ctx0" brushRef="#br0" timeOffset="-172713.98">27047 17359 265 0,'0'0'385'0,"-9"-4"-56"16,9 4-75-16,-9-6 15 0,9 6-76 0,-10-7 26 15,10 7-82-15,-8-6 25 0,8 6-57 0,-7-7 34 16,7 7-72-16,-7-9 44 0,7 9-23 0,-7-8 37 16,7 8-48-16,-5-8 15 0,5 8-44 0,-3-7 16 15,3 7-31-15,-3-6 17 0,3 6-42 0,0 0 31 16,-1-8-43-16,1 8 33 0,0 0-38 0,4-5 30 15,-4 5-31-15,5-4 29 0,-5 4-35 0,0 0 38 16,18-1-40-16,-18 1 33 0,20 1-26 0,-8 1 38 16,2-1-46-16,4 0 40 0,2 1-31 0,0 1 25 15,5-1-30-15,3 2 38 0,0-1-35 0,6 1 29 16,-1-1-34-16,4 1 35 0,2 1-33 0,0-1 27 16,6 0-30-16,2 1 25 0,-1 0-42 0,1 1 36 15,-1-1-54-15,1-1 49 0,-1 0-53 0,2 1 54 0,-1-1-35 16,0-1 50-16,-1 1-42 0,3 0 38 15,-1-2-47-15,-2 0 30 0,4 2-27 0,-4-1 54 16,-4-2-55-16,6 2 39 0,-7 0-48 0,1-1 54 0,-3-1-61 16,1 0 63-16,2 0-48 0,-2 1 55 0,-2-2-50 15,2 1 53-15,-5-1-48 0,-3 1 33 0,0-1-46 16,0 0 51-16,-2 0-48 0,-1 0 47 0,0 0-48 16,0 0 55-16,0 0-47 0,-1 0 37 0,-1 0-45 15,1 0 46-15,0 0-39 0,-1 0 49 0,3 0-54 16,-2-1 43-16,0 0-62 0,0-1 7 0,-1 4 3 15,0-5 43-15,2 3-33 0,-1-2 39 0,0 1-34 16,2-2 25-16,-2 1-33 0,0-1 37 0,1 1-27 16,-1 0 38-16,0-2-37 0,-1 2 55 0,-2-1-39 15,0 2 43-15,-1-2-49 0,-2 1 43 0,-1 1-40 16,0-1 51-16,-2-1-47 0,-1 2 46 0,2-1-41 16,-3-1 37-16,1 0-36 0,-1 1 43 0,-2 0-46 15,2 0 40-15,-2-1-36 0,-1 0 36 0,2 0-47 16,-1-1 43-16,-2 2-41 0,-2-2 46 0,5 0-48 15,-5 2 42-15,4-2-52 0,-4 1 42 0,1 0-36 16,0-1 41-16,-2 1-39 0,3 1 45 0,-4 0-46 16,1 0 46-16,0-1-28 0,-10 3 20 0,13-4-42 15,-13 4 40-15,12-3-48 0,-12 3 47 0,10-2-64 0,-10 2 25 16,0 0-36-16,0 0 15 0,0 0-40 0,0 0-22 16,0 0-53-16,-3 7-44 0,3-7-41 15,-12 3-290-15,3 1-38 0</inkml:trace>
  <inkml:trace contextRef="#ctx0" brushRef="#br0" timeOffset="62199.96">21364 696 348 0,'1'-8'404'0,"-1"-1"-92"16,0 1-11-16,0-1-57 0,-1 1-19 0,-2-2-25 15,-2 2-31-15,1 0-2 0,-1 1 12 0,0 1-62 16,-4 0 41-16,-1 4-62 0,0 0 20 0,-2 2 31 15,-4 2 21-15,-1 3-62 0,-5 2-17 0,1 2-14 16,-4 6-5-16,2 2-7 0,2 1 24 0,0 2-1 16,3 1-21-16,0 1-5 0,4 2 31 0,2-1-57 15,3-1 47-15,2-1-52 0,5 3 43 0,2-5-59 16,2 2 48-16,5 1-56 0,0-2 4 0,7 2-1 16,2-2 8-16,4-1-9 0,-1-2 4 0,6-2-19 15,-1-3-53-15,-1-3-30 0,2-2-29 0,-3-3-19 16,4-3 7-16,-3-1-4 0,2-3-32 0,-2-4 8 15,2 0 21-15,0-4 24 0,1 1 22 0,-2-3 14 16,-5 0 20-16,0 2 5 0,-5-1 15 0,3-1 40 16,-5 5 44-16,0 0 20 0,-3 2-13 0,0 0-12 15,0 1-19-15,-9 5 1 0,12-5 23 0,-12 5 35 16,9 1 44-16,-9-1-59 0,5 8 26 0,-2-4-49 0,-1 2 33 16,-2 2-49-16,1 0 34 0,0 3-45 15,-1-2 36-15,0 3-42 0,0 1 37 0,1-2-42 16,1 1-3-16,0 2-100 0,-2-1-63 0,4-1-38 0,-3 0-40 15,2-1-99-15,0 0-54 0,2-2-382 0,-1 0-292 16</inkml:trace>
  <inkml:trace contextRef="#ctx0" brushRef="#br0" timeOffset="62364.96">21702 884 309 0,'-6'-10'545'16,"0"0"-97"-16,-1 2-67 0,2-1-41 0,-1 1-44 15,-2 0-73-15,3 3-45 0,-1-2-38 0,2 0-25 16,-1 3-28-16,1 0-12 0,4 4-26 0,-9-6-109 16,9 6-30-16,0 0-39 0,0 0-64 0,0 0-127 15,0 0-95-15,17 4-208 0,-17-4-132 0</inkml:trace>
  <inkml:trace contextRef="#ctx0" brushRef="#br0" timeOffset="62531.96">21982 752 459 0,'3'7'371'0,"-2"2"-89"0,-1 1-20 0,0 2-13 16,2 1-30-16,-2 1-37 0,0 3-36 0,0 1-30 15,0 0-26-15,0 1-15 0,1 0-10 0,-1 1-9 16,1 0-11-16,-1-1-8 0,3 2-2 0,-2-1-4 16,0 0-62-16,-1-2-63 0,0 1-57 0,2-3-113 15,-4-2-426-15,2-1-199 0</inkml:trace>
  <inkml:trace contextRef="#ctx0" brushRef="#br0" timeOffset="63050.03">21802 1073 394 0,'0'0'372'0,"0"0"-67"0,0 0-11 0,3-6-41 16,-3 6-37-16,13-4-26 0,-3 2-28 0,3 0-13 15,3-1-16-15,2-1-15 0,1 1-25 0,5-1-12 16,0 1-16-16,1-1-8 0,1-1-11 0,-1 2-8 15,1-2-9-15,-1 0-4 0,-3 1 3 0,-1 1 12 16,-4-1 18-16,-1 2-8 0,-3 0 36 0,-1 0-67 16,-12 2 38-16,17 0-56 0,-17 0 9 0,13 4 47 15,-13-4-52-15,6 7 13 0,-6-7 12 0,3 12 8 16,-2-6-7-16,0 2 14 0,1 0 44 0,-1 0-8 16,0 1-6-16,3 0-11 0,1 0 34 0,-1-1-7 15,2 2-11-15,2-2-7 0,2 0-7 0,2-1-11 16,-1-1-12-16,4-1-4 0,1-1-1 0,0-2-11 15,0-2-5-15,3-1-1 0,0-2-13 0,0-2-14 16,2-1-76-16,-2-3 44 0,0 2-33 0,-4-1 47 16,-2 1-32-16,1-1 46 0,-1 1-38 0,-3 1 42 15,0 1-44-15,-3 2 41 0,-7 3-40 16,10-5 41-16,-10 5-36 0,0 0 46 0,5 5-39 0,-5-5 41 0,2 9-31 16,-4-3 60-16,2 1-35 0,-2 2 2 15,0 0 4-15,1 1 10 0,0 0 20 0,-2 1 4 16,3-2-6-16,-4 1-1 0,3-1-7 0,-3 1-4 15,3-2 4-15,-2 0-1 0,-3-1 0 0,4-3 19 0,-4 2 45 16,6-6-10-16,-9 5-6 0,9-5 3 0,0 0 7 16,-15-1 3-16,15 1-20 0,-11-9 7 15,5 2-31-15,3-1-9 0,-2 0-12 0,2-3 2 0,1 1-5 16,0-1-1-16,2 1-6 0,2 0-34 0,-2-1 4 16,1 3-99-16,0 1-26 0,-1 0-136 0,0 7-49 15,5-10-10-15,-5 10-40 0,0 0-24 0,0 0-124 16,0 0-270-16,0 0-324 0</inkml:trace>
  <inkml:trace contextRef="#ctx0" brushRef="#br0" timeOffset="63641.64">21347 1520 395 0,'0'0'409'0,"-4"-7"-122"0,4 7-34 15,0 0-57-15,0 0 21 0,-10 4-38 16,6 1 42-16,-2 3-71 0,2 0 33 0,0 3-57 0,-1 3 52 16,0 0-35-16,2 1-13 0,0 1-28 0,-2 0-12 15,1-1-10-15,1 1 7 0,-2 0-21 0,3-2-4 16,-1 0 5-16,-1-1-11 0,1-2-5 0,2-1-4 15,-1-1-7-15,-2 0 52 0,3-2 54 0,-2-1 56 16,3-6-1-16,-1 9-64 0,1-9-20 0,0 0-31 16,-3-6-10-16,3-1-19 0,0-3-1 0,2-5-26 15,0-3-60-15,2-4-8 0,2-3 0 0,3-4 10 16,-1-2 5-16,3 2 4 0,-2-1 0 0,3 1-5 16,-1 2 8-16,0 2 1 0,-4 6 5 0,1 1 40 15,1 4 0-15,-3 1-10 0,-2 2-11 0,3 2-4 16,0 3-4-16,-1 2 5 0,-6 4 6 0,17-2 13 15,-8 5 10-15,0 1 16 0,1 3 17 0,3 2-14 16,-3 2 2-16,3 2-16 0,1 3 1 0,0 4-19 16,3 0 26-16,-3 3-28 0,0-1 16 0,-1 2-19 0,1 1 9 15,-3-1-94-15,0 1-95 0,-3-3-34 0,0-1-100 16,-3 0-78-16,0-1-51 0,-1-3-77 0,-4 1-550 16,-1-5-671-16</inkml:trace>
  <inkml:trace contextRef="#ctx0" brushRef="#br0" timeOffset="63787.16">21237 1716 375 0,'-10'-7'517'0,"4"1"-66"15,2-1-126-15,3 1-10 0,2-1-104 0,4 0 1 16,3 1-81-16,6-3 4 0,2 2-57 0,6-1 18 16,4 3-46-16,2 0 12 0,4 0-118 0,2 2-89 15,2 1-123-15,-5 2-521 0,1-1-310 0</inkml:trace>
  <inkml:trace contextRef="#ctx0" brushRef="#br0" timeOffset="64514.18">21434 2415 331 0,'0'0'376'0,"0"0"-73"0,-4 8-3 16,2-2-29-16,-1 3-39 0,-1 2 22 0,-1 2-5 15,2 2-33-15,-3 2-68 0,3 1 4 0,-3 1-52 16,1 2-3-16,3-1-37 0,-3 2 15 0,2 0-36 16,1-1 21-16,0 1-24 0,0-2 14 0,-1-1-9 15,2 2-2-15,0-3-21 0,-1 0-86 0,0-2-52 16,-1 0-90-16,2-1-119 0,-2-4-133 0,1-1-255 16,-3-1-223-16</inkml:trace>
  <inkml:trace contextRef="#ctx0" brushRef="#br0" timeOffset="64766.18">21089 2529 446 0,'-6'-3'438'0,"6"3"-14"16,-12-5-116-16,12 5 19 0,0 0-76 0,0 0 3 0,0 0-30 15,7-3 20-15,-7 3-36 0,24 0-11 0,-6 1-34 16,1 1-6-16,9 1-6 0,0 0-17 0,-1-1-16 15,5 1-14-15,1 0-26 0,2 0-5 0,-6 0-17 16,1 0-6-16,-4 0-18 0,1-1-1 0,-6 0-7 16,-3 0-3-16,1-1-6 0,-5 0-16 0,0 0-73 15,-3 0-50-15,-11-1-84 0,21 3-15 0,-21-3-43 16,14 2-28-16,-14-2-105 0,0 0-115 0,0 0-256 16,0 0-284-16</inkml:trace>
  <inkml:trace contextRef="#ctx0" brushRef="#br0" timeOffset="67783.62">23603 733 98 0,'-1'-6'387'0,"1"6"-128"15,0 0-72-15,0 0-47 0,0 0-66 0,0 0 13 16,0 0-24-16,-5 8 43 0,2 2-11 0,-1 4 11 16,2 2-10-16,-2 1 10 0,0 3-23 15,1 2-5-15,-3 0 35 0,2 0-14 0,2 0-14 0,-2 1 9 16,1-2 3-16,1-2-17 0,0 1-17 0,0-1-6 16,-1-1-13-16,3 0-9 0,0-1-4 0,0-2-11 15,0 0 2-15,1-1 0 0,3-1 2 0,-1 1 19 16,2-1 47-16,2-1-14 0,3-3-9 0,1 0-6 15,-1-1-3-15,6-2-17 0,-1-1-6 0,2-1-6 16,-2-1-8-16,4-2 3 0,0 1-2 0,-1-2 1 16,0-3-5-16,0 1-4 0,1-2-1 0,-1-1-2 15,-1-1-1-15,2-2 1 0,-2-2 40 0,0-1-48 16,-4 1 37-16,1-2-53 0,-2 0 44 0,-3-1-49 16,0-1 43-16,-4 1-43 0,-1 3 36 0,-2-3-43 15,-1 3 42-15,1-1-48 0,-4 0 45 0,0 3-49 16,-1 1 4-16,-3 0 3 0,-2 3 2 0,2 1 0 15,6 3 5-15,-17 0 8 0,6 4 0 0,0-1 2 16,1 2-1-16,-1 4 4 0,1-1 0 0,2 0 4 16,-1 4-4-16,3-2 9 0,-1 0 0 0,5 1 2 15,0 1-2-15,0-2 2 0,3 2 6 0,0-1 3 16,2-1-3-16,1 1 2 0,1-3 8 0,0 0-9 16,3-2 4-16,-1 0 1 0,2-1-1 0,1-2 6 15,-1-2-3-15,-9-1 5 0,20-1-8 0,-10-2-2 16,-1-1-3-16,0 0-2 0,0-1 34 0,-2 0-51 15,-7 5 38-15,11-7-53 0,-11 7 41 0,7-6-38 16,-7 6 29-16,0 0-46 0,0 0 41 0,0 0-46 16,0 0 9-16,0 0 4 0,0 0 9 0,3 6 6 15,-3-6-1-15,-3 8 0 0,3-8 25 0,3 10-18 0,-3-10 10 16,5 10 25-16,-1-6 35 0,0 1 15 16,-4-5 0-16,11 7-6 0,-11-7-10 0,17 4-6 15,-17-4-8-15,21-2-3 0,-10-1-14 0,3-2 2 16,0-1 30-16,0-2-45 0,2-3 33 0,-3-1-49 15,1-4 38-15,0 0-49 0,0-5 20 0,-2-2-50 0,-2-2 36 16,1 0-38-16,-3 2 8 0,0 3 8 16,-3-1 2-16,3 6 5 0,-5-1 24 0,3 3 14 15,-4 1-15-15,3 3-9 0,-2 1-6 0,-3 8-1 16,4-7 2-16,-4 7 5 0,2 5 12 0,-2-5 50 0,3 14 3 16,-3-3 35-16,-3 1-54 0,2 1 64 0,1 1-67 15,0 2 43-15,-1 1-63 0,-1 0 48 0,1 0-54 16,1-2 1-16,-1 1-8 0,0-3 8 15,1 0 0-15,-2-2-3 0,2 0 4 0,0-3 8 0,-1 1 9 16,1-2 66-16,0-7 52 0,-1 11 0 16,1-11-30-16,4 7-20 0,-4-7-20 0,0 0-19 15,15 0-9-15,-15 0-11 0,15-5-3 0,-6 3-13 0,3-2-7 16,-1 3-8-16,-1-1-10 0,2 0-4 0,-12 2-4 16,20 0-4-16,-20 0-3 0,18 3 2 0,-9 0 2 15,0 1-1-15,-2-1-5 0,-1 2 9 0,-2 0 3 16,-3 1-4-16,-1-6 2 0,3 11 6 0,-6-5 1 15,1 0 4-15,-2 0-3 0,-1-1 3 16,-2 0-1-16,1 1 0 0,-4-2 1 0,1 0-1 0,-2-1-9 16,1 1-22-16,-1-1-32 0,0-2-43 0,0 0-33 15,11-1-16-15,-19 1-13 0,19-1-24 0,-18-1-39 16,10-2-27-16,8 3 23 0,-10-7-32 0,10 7-32 16,-4-9 20-16,7 2-40 0,2 0-10 0,1-2-58 15,3-1-182-15,3-2-82 0</inkml:trace>
  <inkml:trace contextRef="#ctx0" brushRef="#br0" timeOffset="68248.62">24435 1030 283 0,'0'0'200'0,"11"-4"7"16,-11 4-74-16,0 0 57 0,13 0-18 0,-13 0-8 15,8 2-8-15,-8-2 26 0,9 5-42 0,-9-5-19 16,7 5 0-16,-7-5 15 0,11 6 0 0,-11-6-11 16,12 5 0-16,-4-3-15 0,1 0-11 0,-9-2-6 15,19 3-10-15,-19-3-11 0,21 0-10 0,-21 0-3 16,20-3-6-16,-10 1-5 0,-3 0-7 0,2-2-6 15,-3 1-8-15,3-4 6 0,-4 2 21 0,0-1-51 16,-2 1-7-16,-3 5-3 0,1-11 18 0,-1 11 15 0,-6-9-53 16,6 9 4-16,-14-3 6 0,14 3 2 0,-18 0-4 15,8 2 52-15,-2 1-56 0,4-1 44 16,-2 2-45-16,1 2 47 0,2-2-51 0,0 3 53 16,5 0-41-16,0 0-3 0,2 0 13 0,0 0 4 15,4 2 3-15,1-1-1 0,2 1 6 0,2 0 1 0,3 0 9 16,0-2-41-16,3-1-54 0,-1 0-20 0,2-1-6 15,0-2-4-15,2 0-22 0,-1-3-14 16,2 0 11-16,-2-3-29 0,2-1 35 0,1-3-13 16,-2-1 47-16,1-5-22 0,-3-1 32 0,1-5-26 0,1-5 53 15,0-5-27-15,1-4 47 0,-3-1 22 0,0 1 47 16,-4 6 63-16,-1 1 46 0,-2 3 28 0,-1 3 5 16,-2 2-10-16,1 2-30 0,-2 3-35 15,-3 2-28-15,1 4-14 0,-3 7 34 0,-1-7-8 16,1 7-5-16,-4 6 18 0,0 1-10 0,0 4-8 0,-1 3-8 15,3 2-15-15,-1 2 31 0,2 1-50 16,-2 4 35-16,3 1-45 0,0 1 33 0,3 0-45 16,-1 1 40-16,0 0-40 0,0 0-3 0,1-1-20 15,-1-2-122-15,2 1-76 0,-3-2-115 0,2-3-187 0,-1-2-286 16,-2-4-321-16</inkml:trace>
  <inkml:trace contextRef="#ctx0" brushRef="#br0" timeOffset="69506.23">23917 1518 78 0,'0'0'466'0,"0"0"-112"0,-2-7 1 16,2 7-93-16,0 0-9 0,-4-6-89 16,4 6-8-16,0 0-74 0,0 0 17 0,0 0-50 15,-4 6 55-15,4-6-36 0,0 12 27 0,0-4-16 0,0 2 14 16,1 1-18-16,1 1-6 0,-1 1-5 0,-1 0 0 15,4 0-11-15,-2 3-11 0,0 0-5 0,-1 1-5 16,0-2-3-16,2-1-3 0,-2 1-1 0,0-2 1 16,1 0-3-16,-2-1 1 0,1 2-2 0,0-4-84 15,-1 2-74-15,1-1-61 0,-1-3-87 0,2-1-137 16,-4 1-299-16,1-2-227 0</inkml:trace>
  <inkml:trace contextRef="#ctx0" brushRef="#br0" timeOffset="70957.27">23790 2447 137 0,'0'0'374'15,"0"0"-82"-15,0 0 5 0,0 0-71 0,0 0-24 16,-3-6-80-16,3 6 9 0,0 0-54 0,8-3 10 0,-8 3-51 15,0 0 20-15,11 0-37 0,-11 0 18 0,9 2-33 16,-9-2 1-16,13 10-2 0,-7-3 1 16,-2 2 1-16,1 1-8 0,-1 3 7 0,-1 0-5 15,0 2 5-15,-1-1 6 0,-2 0-2 0,-2 1 10 0,-1 1-16 16,-2-2 32-16,-1 2-30 0,1-2 22 0,-2-1-9 16,-1 0 65-16,0-2-36 0,1 0 30 0,0-1-24 15,0-3 60-15,2 0-4 0,-2 0 67 0,3-2 7 16,4-5-16-16,-6 8-42 0,6-8-13 0,-7 2-34 15,7-2-5-15,0 0-26 0,0 0 5 0,0 0-29 16,-6-5 11-16,6 5-24 0,0 0 13 0,0 0-22 16,6-6 8-16,-6 6-18 0,0 0 15 0,7-3-15 15,-7 3 14-15,0 0-16 0,15 2 20 0,-15-2-17 16,17 4 17-16,-8 0-16 0,0 0 16 0,2-1-14 16,1 1 19-16,3-1-18 0,-1 3 18 0,1-3-15 15,1 2 13-15,0-3-14 0,0 0 17 0,0 1-14 16,-3-2 16-16,4 1-17 0,-3-2 16 0,2-2-18 15,-2 0 16-15,4-2-21 0,-4-1 25 0,3 1-20 16,-2-4 21-16,-1 0-17 0,-1-2 10 0,1 0-17 16,-1-1 14-16,-3-1-14 0,0 0 16 0,-1 0-22 15,-2 1 15-15,-1 0-17 0,-2 1 14 0,-1 0-20 16,-1 2 15-16,-4 0-19 0,-1 2 18 0,-1 2-21 16,-2 0 26-16,6 4-28 0,-16-3 24 0,16 3-14 15,-19 5 18-15,9-1-19 0,-1 2 8 0,2 0-7 16,0 2 24-16,-1 0-21 0,4 2 27 0,1 0-26 15,1-1 21-15,0 2-8 0,3-1 6 0,1 0-8 16,1 1 24-16,3 0-7 0,0-1 23 0,1-2-8 16,1 2 16-16,1-3-11 0,-1-1 7 0,2 0 0 15,1-1 37-15,0-1-15 0,-1-2 1 0,-8-2-17 16,14 0 1-16,-14 0-18 0,15-8-2 0,-10 4-8 16,0-4 0-16,1-1-6 0,-4 0 4 0,3-3-13 15,-4-1-46-15,1 1-26 0,-2 0-4 0,0 0-46 16,-2 0-17-16,-1 1-61 0,-1 2 12 0,1-2-60 0,-2 3-13 15,1 0-20-15,-1 1-28 0,1 3-44 0,4 4-38 16,-7-9-155-16,7 9-48 0</inkml:trace>
  <inkml:trace contextRef="#ctx0" brushRef="#br0" timeOffset="71248.27">24431 2589 10 0,'0'0'427'0,"0"0"-123"15,12 2-66-15,-12-2-29 0,0 0-37 0,0 0-39 16,-7 7-34-16,7-7-20 0,-5 5-17 16,5-5-2-16,-6 9 35 0,6-9 0 0,-3 12 20 0,1-6-46 15,2-6 26-15,0 14-36 0,0-8 42 0,2 1-44 16,1 2 39-16,1-2-34 0,-2 1 37 0,3-2-25 16,0 1 42-16,-1-2 5 0,1-1 56 0,-5-4-1 15,11 7 32-15,-11-7-16 0,0 0-32 0,15 0-34 16,-15 0-17-16,7-7-26 0,-4 1-14 0,0-1-23 15,-3-1-3-15,0 0-17 0,-2-3-1 0,0 1-9 16,-1-1 2-16,-2 0-14 0,1 1 2 0,-3 1-41 16,2-1-62-16,-4 0-109 0,0 2-20 0,0 2-59 15,-2 0-24-15,2 3-60 0,-2-1-55 0,3 2-391 16,8 2-349-16</inkml:trace>
  <inkml:trace contextRef="#ctx0" brushRef="#br0" timeOffset="72391.98">24811 1549 132 0,'15'2'180'0,"-1"-2"-24"0,-2 1-18 0,-1-1-9 15,-11 0 1-15,19 1 10 0,-19-1 6 0,14 0 1 16,-14 0-15-16,14 0-20 0,-14 0-8 0,13-1-19 16,-13 1-5-16,0 0-10 0,13-1-16 0,-13 1-9 15,0 0-3-15,10-2-23 0,-10 2-5 0,0 0-5 16,0 0-7-16,0 0-2 0,13 2-5 0,-13-2-1 16,0 0-2-16,6 3 5 0,-6-3-2 0,3 6-4 15,-3-6 1-15,2 9 2 0,-2-2-1 0,2-1 1 16,-1 1-1-16,0 3 4 0,1 0-2 0,-1 1 1 15,0 2 1-15,2-1 1 0,-1 4 6 16,1 0 33-16,-2-1-9 0,2 2-7 0,-2 1 6 0,1-1-5 16,0 2-4-16,0-1-1 0,-2 2 0 0,0-2-12 15,0 1 9-15,0 0 6 0,1 0-1 0,-2-1 7 16,1 1-7-16,0-1-1 0,-2 2-5 0,0-2 24 16,0 0-29-16,1-2 25 0,-2 2-33 0,2-1 25 15,0 0-28-15,-1 1 45 0,0-2-22 0,-1 0 26 16,2 1-31-16,-2-1 26 0,2-1-39 0,-2 1 30 15,1-1-35-15,-1 1 33 0,3-3-38 0,-2-1 31 16,-1 1-39-16,3 1 40 0,-1-2-51 0,0 1 40 16,-2-1-19-16,3 0 33 0,0 0-39 0,0 0 36 15,-1-2-41-15,1 1 32 0,-1-1-26 0,1 1 31 16,0-2-37-16,0 0 42 0,0-2-45 0,-2 2 38 16,2-1-48-16,0-1 20 0,0 0 32 0,0 1-32 15,0-1 38-15,0-7-41 0,2 14 35 0,-2-7-36 16,0-7 43-16,0 14-50 0,1-9 6 0,0 3 26 15,-1-8-26-15,0 12 36 0,0-12-33 0,0 11 37 16,0-11-41-16,0 8 50 0,0-8-3 0,0 9 47 16,0-9-9-16,-4 5 20 0,4-5-37 0,-6 3 23 15,6-3-46-15,0 0 24 0,-18 0-23 0,9-2-35 16,-3-1-112-16,0 0-66 0,-4-2-143 0,-1 0-494 16,-3-1-354-16</inkml:trace>
  <inkml:trace contextRef="#ctx0" brushRef="#br0" timeOffset="73286.79">23443 1613 1 0,'0'0'179'0,"0"0"-2"0,-6-4-76 0,6 4 19 0,0 0-25 15,-9-3 27-15,9 3-10 0,0 0 1 0,-13-4-12 16,13 4-15-16,0 0-17 0,-10-2-17 0,10 2-11 16,0 0-8-16,-13-2-11 0,13 2-5 0,0 0-2 15,-17-2 2-15,17 2-10 0,-10 2 5 0,10-2-2 16,-12 1-11-16,12-1 6 0,-11 2-5 0,11-2-5 16,-10 2 1-16,10-2 1 0,-11 4-25 0,11-4 25 15,-9 6-25-15,9-6 34 0,-11 8-28 0,6-3 28 16,3 3-12-16,-1 0 25 0,-1 2-16 0,2-1 58 15,0 3-28-15,1 2 39 0,1 1-34 16,0 2 12-16,0 1-23 0,3 1 18 0,-2 0-4 0,2 4-5 16,-1 1-7-16,1 1 5 0,-1-1 21 0,3 1 1 15,-3 0-7-15,0 0 6 0,1 1-21 0,-1-1 8 16,0 1-19-16,-2-1 20 0,1 0-44 0,0 0 21 16,-1 0-17-16,0 0 25 0,0 1-32 0,-1-1 0 15,1-1 4-15,-1 1 9 0,-1 0 32 0,0-1-3 16,-1 0-3-16,2 0-8 0,0-1-5 0,-2-2-2 15,-1-1-5-15,3-1 1 0,0-2-3 0,-2 0 39 16,3-3-30-16,0-1 44 0,-1-1-40 0,0 0 53 0,1-4-18 16,0 2 61-16,-2-3 13 0,4 0 24 0,-2-7-34 15,3 10-9-15,-3-10-36 0,12 7-7 16,-12-7-23-16,15 2-4 0,-15-2-1 0,19-1-94 16,-8-2-64-16,1 0-110 0,-1 0-109 0,-1 0-197 0,1-1-278 15,-4-2-338-15</inkml:trace>
  <inkml:trace contextRef="#ctx0" brushRef="#br0" timeOffset="76045.15">27275 592 37 0,'0'0'224'0,"-12"6"16"0,4-4-79 0,8-2-2 16,-10 9-47-16,3-2 45 0,0 0-36 0,1 1 32 16,1 2-19-16,-1 1-41 0,3-1 32 0,-2 1 5 15,2 1-7-15,2 0-33 0,0 0 1 0,1 0 1 16,1 1 7-16,1-1-1 0,5 0-2 0,0 0 29 15,1-1-45-15,1-1 31 0,5-2-56 0,-1 1 32 16,2-4-58-16,-1-1 54 0,3-1-53 0,-2-2 27 16,3-3-58-16,-1-1 55 0,-1-2-52 0,2-3 1 15,0-1-7-15,-1-1 9 0,-2-4-5 0,0 0 12 16,-4-2-3-16,0 1 43 0,-1-3-18 0,-3 3-8 16,-1 2-7-16,-1-1-7 0,0 2-5 0,-1 2-1 15,1 1-12-15,-2 1-9 0,-1 2-4 0,-2 6-9 16,0-7 9-16,0 7-40 0,0 0 53 0,-5 7-39 15,0 1 11-15,0 2 10 0,1 3 38 0,-1 2-24 16,-1 3 17-16,1 2 42 0,-2 2-29 0,0 1 44 16,1-1-52-16,1 1 47 0,0 2-48 0,-1-3 35 15,1 1-45-15,1 1 43 0,0-1-39 0,0 0 43 16,2-1-52-16,-1 0 51 0,0-3-42 0,2 0 34 16,1-2-139-16,0 0-38 0,0-4-16 0,0 1-45 15,4-4-68-15,1 1-52 0,-1-3-113 0,3-3-204 16,-7-5-148-16</inkml:trace>
  <inkml:trace contextRef="#ctx0" brushRef="#br0" timeOffset="76224.15">27685 837 402 0,'6'-10'429'0,"-2"2"-71"0,6-1-80 0,-1 0-58 0,2 0-43 15,2 1-36-15,4 0-23 0,2 1-31 0,-2 3-8 16,2-2-22-16,0 3-13 0,1 0-43 0,-1 2-39 15,-3 2-44-15,2 1-61 0,-1 0-79 0,-4 3 22 16,-3 0-45-16,-1 2 40 0,-3 2-195 0,-3-1 145 16</inkml:trace>
  <inkml:trace contextRef="#ctx0" brushRef="#br0" timeOffset="76326.2">27920 871 355 0,'-11'10'79'0,"2"-2"69"16,1-1-26-16,-2-1-9 0,3 0-13 0,1 1-12 16,-2-3-2-16,8-4-1 0,-10 9 0 0,10-9 6 15,-4 6-9-15,4-6-14 0,3 4-7 0,-3-4-8 16,11 3-10-16,-11-3 17 0,20 2-83 0,-8-2-65 15,2 0-113-15,0 0-19 0,0-1-157 0,4-1 168 16</inkml:trace>
  <inkml:trace contextRef="#ctx0" brushRef="#br0" timeOffset="76962.19">28523 625 174 0,'-2'-7'293'0,"2"7"-88"0,0 0-65 0,0 0-28 16,0 0 3-16,0 0-16 0,-8 5 29 0,4 2-4 15,2 4 16-15,-1 3 5 0,-1 4 11 0,1 4-14 16,1 2-24-16,0 1-24 0,0 1-4 0,0 2-16 16,2 1-13-16,0 0-7 0,1 4-29 0,-1-4 24 15,0 0-22-15,-1 1 4 0,1-1-4 0,0-1-2 16,1 0-2-16,-1-3-26 0,1 0-39 0,-1-3-43 15,0-3-49-15,0-1-58 0,0-4-78 16,0 0 32-16,2-3-33 0,-2-3-183 0,-2-2 73 0</inkml:trace>
  <inkml:trace contextRef="#ctx0" brushRef="#br0" timeOffset="77360.2">28403 988 260 0,'-4'-25'305'0,"-1"-1"-5"0,5 0-63 0,-1 0-8 16,2-1-49-16,3 0-7 0,1-1-36 0,5-1-13 15,2 0-20-15,2 3-8 0,5-3-20 0,5 2-15 16,2 5 2-16,-3 2-13 0,3 5 1 0,-1 3-12 16,-2 3-16-16,-1 4-4 0,-2 2-3 0,-1 3-1 15,-3 4-3-15,0 2-1 0,-3 1-2 0,0 2 3 16,-5 3-5-16,-2-1 3 0,-2 4-4 16,-3-2 1-16,-3 0-3 0,-1 3 4 0,-3-1-6 0,-2 2 3 15,-2 0-1-15,-2-1 0 0,1-2 2 16,-1 0-1-16,3-3-1 0,0 0 4 0,-1-1-5 0,5-2 1 15,0-1-3-15,1 0 10 0,1 0-7 0,3-7 2 16,6 9-6-16,0-4 9 0,-1 0-6 0,8-1 4 16,-2 2-9-16,3-1 5 0,-2 1-6 15,1 0-5-15,-2 0-1 0,1 0 1 0,-6 0-1 0,4-1 1 16,-1 1 0-16,-4 0 2 0,-1-1 1 0,-4-5 8 16,3 10 12-16,-3-10 32 0,-5 9-15 0,-2-6 14 15,-2 3 43-15,-1-4-46 0,-3 1 38 0,-1 0-49 16,0-1 45-16,-5-1-69 0,6 0 51 15,-6 1-55-15,5-2 44 0,-3 1-47 0,3-1 40 0,-1-1-77 16,2 1-25-16,2-2-32 0,-1 1-43 0,12 1-20 16,-15-2-85-16,15 2-69 0,-8-5-45 15,8 5-242-15,4-7-110 0</inkml:trace>
  <inkml:trace contextRef="#ctx0" brushRef="#br0" timeOffset="77728.2">28847 866 209 0,'0'8'244'0,"0"-1"-72"0,0 0 15 0,0 1-55 16,1 1 19-16,1-1-35 0,0 2 31 0,2 0-32 15,-1-2 26-15,4 0-44 0,0 2 4 0,1-3-10 16,0 0-9-16,1-1 2 0,0 0 15 0,0-1-10 0,0-1-16 16,1-3-15-16,-10-1-27 0,15 0 35 0,-15 0-14 15,14-6 2-15,-8 0-20 0,0 0 5 0,-4-1-24 16,1-2 6-16,-3-1-13 0,-1-1 0 15,-2 0 1-15,-2 0-3 0,0-1-3 0,-4 1-5 16,0 0 7-16,0 1-5 0,-4 1 1 0,4 1-31 0,-2-1-29 16,-1 3-26-16,2 2-42 0,0-1-10 0,0 1-58 15,2 2 15-15,8 2-25 0,-12-4 51 0,12 4-3 16,0 0 64-16,-10-2-16 0,10 2 53 16,0 0-27-16,0 0 49 0,10 5-28 0,-10-5 57 15,13 3 4-15,-4-1 73 0,5 1-12 0,0 1 42 16,5-2-42-16,-1 2 34 0,7-1-31 0,-1 1 22 0,3-2-32 15,-1 2-8-15,1-2-7 0,3 1 19 0,-3 0-34 16,1-1-25-16,-3 0-48 0,-2 0-67 0,-1-2-50 16,-3 0-270-16,0-1 93 0</inkml:trace>
  <inkml:trace contextRef="#ctx0" brushRef="#br0" timeOffset="77916.19">29257 687 436 0,'0'0'288'16,"0"0"-50"-16,-10-2-58 0,10 2 51 0,-9 5-6 16,9-5-12-16,-7 9-35 0,2 0-1 0,3-1-26 15,0 3-31-15,-3 3-23 0,4 1-14 0,0 0 16 0,1 1-42 16,0 2 25-16,0 0-50 0,0 0 31 16,0 1-70-16,1-1-44 0,-1 0-55 0,-1 1-81 15,1-3-56-15,0 1-100 0,-2-3-291 0,2-2-144 16</inkml:trace>
  <inkml:trace contextRef="#ctx0" brushRef="#br0" timeOffset="78467.19">29451 741 47 0,'0'0'365'0,"10"-3"-145"0,-10 3 7 0,0 0-62 0,11 7 18 16,-8-1-38-16,1 4 19 0,0 2-35 15,0 2-6-15,1 3 17 0,-3 1-16 0,2 4-18 16,0-1-12-16,1 1-17 0,-1 2-13 0,-1-1 15 16,1-2-38-16,-1 2 22 0,1 0-21 0,-1-1 2 15,-1-5-18-15,0 1-9 0,0-3 14 0,-2 0-18 16,1-1-3-16,1-4 3 0,-2 1 1 0,0-1 75 16,1-2 84-16,0-2 94 0,-1-6-85 0,-2 8 1 15,2-8-77-15,0 0 21 0,-7-4-69 0,3-2 35 16,1-4-65-16,-4-3 39 0,2-3-53 0,-1-4-24 15,1-4-56-15,-2-5 48 0,3-3-34 0,1 0 14 16,0-2 1-16,3 0 13 0,0 0-5 0,6 1 24 16,-2 1-48-16,5 1 46 0,2 3-20 0,1 1 2 15,2 3-2-15,4 3 1 0,-1 2-4 0,-1 4 4 16,0 4 2-16,0 4 2 0,-2 3-35 0,0 1 47 16,-1 4-37-16,0 2 48 0,-3 1-44 0,1 3 8 15,-3 3 2-15,0 1 8 0,-3-1 9 0,0 3 4 16,-1 0-2-16,-1 1 3 0,-1 0 4 0,0 1-3 15,0-2 8-15,-1 2 38 0,-1-1-72 0,0-2 31 16,-1 1-47-16,-1-1 22 0,0 1-45 0,2-3 18 16,0 1-14-16,-1-2-15 0,1 0 1 0,-1-1 20 15,1 1 8-15,0-2 14 0,0 0 16 0,0-7 4 16,0 12 1-16,0-12 2 0,-1 11 7 0,1-11 2 16,-4 9 0-16,4-9-2 0,-11 8 5 0,11-8-3 15,-19 5 10-15,8-4-6 0,-3 0 6 0,1 0-2 16,0-1 1-16,-2 1 3 0,1-1-1 0,-2 0 2 15,2-1 6-15,2 1-1 0,12 0-10 0,-20 0-58 16,20 0-55-16,-18-1-106 0,18 1-124 0,0 0-203 16,-5-3-58-16</inkml:trace>
  <inkml:trace contextRef="#ctx0" brushRef="#br0" timeOffset="78665.2">29955 874 119 0,'0'0'348'0,"7"3"-67"0,-7-3-61 0,5 7 28 16,-5-7-74-16,4 9-24 0,-4-9-8 0,0 12-20 16,0-5-18-16,2 0-19 0,-2 2-16 0,0 1-11 15,0 1-7-15,1 0-3 0,0 1-12 0,-1 0 1 16,0 0 5-16,3 1-16 0,-1-1-11 0,-2 0-81 16,4-1-31-16,-3 0-101 0,-1 0-56 0,3-3-295 15,-2-1-61-15</inkml:trace>
  <inkml:trace contextRef="#ctx0" brushRef="#br0" timeOffset="78886.2">30459 696 458 0,'8'-5'461'0,"0"2"-112"16,-8 3-87-16,7-5-54 0,-7 5-40 0,0 0-30 15,0 0-3-15,0 11-24 0,-2-6-19 0,-1 4-22 16,-2 0-10-16,-1 5-16 0,-1-2 7 0,1 2-20 16,0 4 15-16,-4-1-26 0,-1-1 13 0,2 0-15 15,-3 1 14-15,-1-1-62 0,-3-3-80 0,2 1-71 16,-2-3-75-16,0 0-82 0,0-4-248 0,0-1-99 16</inkml:trace>
  <inkml:trace contextRef="#ctx0" brushRef="#br0" timeOffset="79053.19">30182 734 34 0,'3'-4'515'0,"-3"4"-147"16,4-8-82-16,-4 8-35 0,0 0-6 0,12 2-30 15,-7 1-4-15,2 3-32 0,-1 2-25 0,4 3-8 16,-1 3 21-16,2 1-69 0,1 2 25 0,0 1-60 16,1 4 28-16,3 0-46 0,-3 1 26 0,2-1-101 15,-2-1-51-15,-1-2-75 0,-1-1-48 0,-2-1-71 16,2-1-71-16,-1-4-341 0,-1 0-195 0</inkml:trace>
  <inkml:trace contextRef="#ctx0" brushRef="#br0" timeOffset="79216.2">30604 953 420 0,'6'-6'631'0,"-6"6"-158"0,8-7-56 0,-8 7-137 16,5-6-25-16,-5 6-106 0,0 0 9 0,10-4-80 15,-10 4 34-15,0 0-66 0,3 6 37 0,-3-6-47 16,2 9 33-16,-2-9-57 0,0 15 48 0,0-6-38 15,0-1 32-15,0 3-161 0,-1-2-55 0,0 2-73 16,-2 0-180-16,3-2-358 0,-4 1-289 0</inkml:trace>
  <inkml:trace contextRef="#ctx0" brushRef="#br0" timeOffset="80132.24">30976 829 160 0,'0'0'443'0,"-14"0"-89"15,14 0-43-15,0 0-54 0,-12 1-63 16,12-1-25-16,0 0-44 0,0 0-17 0,0 0-23 0,14 1-35 16,-2 1 13-16,1-1-41 0,4 2-65 0,0-1-81 15,5 0-85-15,-2 1-61 0,3 0-261 0,-2 1-32 16</inkml:trace>
  <inkml:trace contextRef="#ctx0" brushRef="#br0" timeOffset="80837.24">31750 974 165 0,'0'0'472'0,"-6"-8"-133"0,6 8-76 0,-4-7-69 16,4 7-44-16,1-8-29 0,-1 8-25 0,5-7-20 16,-5 7-9-16,12-6-18 0,-6 4-7 0,-6 2-9 15,19-2-3-15,-19 2-5 0,23-1-6 0,-11 1-49 16,1 0-41-16,-2 1-50 0,3 0-41 15,0 0-49-15,-1 0-53 0,2 0-143 0,0 1 133 0</inkml:trace>
  <inkml:trace contextRef="#ctx0" brushRef="#br0" timeOffset="89353.98">30380 1163 83 0,'0'0'135'0,"0"0"14"16,3-8-30-16,-3 8-16 0,0 0 0 0,2-9 3 16,-2 9 5-16,0 0-4 0,4-7-15 0,-4 7-11 15,0 0 7-15,3-6-15 0,-3 6-14 0,0 0-17 16,0 0-9-16,0 0-20 0,2-7-13 0,-2 7-4 15,0 0 1-15,0 0 2 0,0 0-8 0,0 12 10 16,0-5 58-16,-2 3-1 0,0 1 14 0,0 3-35 16,-1 2 51-16,-2 1-3 0,0 4 0 0,1-1 11 15,-1 2-15-15,1-1 6 0,-2 1-13 0,0 0-11 16,1-1-12-16,-1 1-13 0,1-2-2 0,1 2-8 16,0-3-12-16,2-1 5 0,-1 0-3 15,-3 0-1-15,5-3-2 0,-2 2-4 0,1-2-7 0,0-2 11 16,0-1 2-16,1 0-3 0,-1-1-3 0,2-3-27 15,-1 0-28-15,0 0-14 0,-1-2-4 0,2-6-49 16,-2 11-39-16,2-11-89 0,0 0-11 0,-8 4-67 16,8-4-135-16,0 0 74 0</inkml:trace>
  <inkml:trace contextRef="#ctx0" brushRef="#br0" timeOffset="89689.98">30180 1529 153 0,'0'8'213'0,"0"3"-76"16,0 0 2-16,1 1-34 0,-1 0 29 0,1 1-43 15,-1 4 14-15,3-4-46 0,-1 2 38 0,0 0-33 16,0 0 28-16,2-1-32 0,1 0 49 0,-1 0-31 15,0-4 17-15,0 1-8 0,-1-1 35 0,3-2 0 16,1 0 7-16,-2 0-4 0,4-2-36 0,-2-2 10 16,0-1-13-16,-7-3-13 0,18 3-2 0,-18-3 12 15,20-6-11-15,-9 3-11 0,-2-3-12 0,2-1-13 16,-2-3-3-16,0 2 0 0,1-3-15 0,-1 0 6 16,-2 1-11-16,-1 0-3 0,-1 0 4 0,0 1-6 15,2 0-4-15,-3 2-11 0,-1 0-59 0,1 1-63 16,-1 1-67-16,-3 5-67 0,0 0-7 0,0-7-109 15,0 7-210-15,0 0-103 0</inkml:trace>
  <inkml:trace contextRef="#ctx0" brushRef="#br0" timeOffset="89977.53">30164 1961 98 0,'0'0'277'16,"-2"6"-19"-16,2-6-23 0,-4 11 17 0,1-5-47 16,-1 1-29-16,3 1-26 0,-3 1 3 0,2-1-21 15,-1 2 1-15,1-1-22 0,-1 1-13 0,-1 1 22 16,4-1-39-16,-2-1 20 0,1 1-52 0,-1-1 23 15,2 0-45-15,-2-2 36 0,0 3-53 0,2-3 41 16,-1 0-67-16,0 0-33 0,1 0-77 16,0-7-88-16,0 14-144 0,0-14-301 0,1 9-170 0</inkml:trace>
  <inkml:trace contextRef="#ctx0" brushRef="#br0" timeOffset="91319.37">30146 1999 27 0,'0'0'238'0,"0"0"-56"0,0 0 7 16,0 0-50-16,0 0 4 0,-5-4-34 0,5 4 8 0,0 0-41 15,0 0-3-15,0 0-46 0,0 0 14 16,0 0-38-16,0 0 21 0,0 0-32 0,0 0 21 0,-4 6-23 15,4-6 20-15,0 9-18 0,0-3 21 0,0 3-29 16,0-1 24-16,0 1 1 0,0 1-4 16,0 2 5-16,0 0-3 0,0 0 3 0,0 1-13 15,-1-1 12-15,-1 1 5 0,0-1 6 0,2-2 3 0,-1 2-1 16,-1-1 1-16,0-1-2 0,2 0 0 16,-2-3 4-16,0 0-18 15,2 0 1-15,0-7 7 0,-2 12 2 0,2-12-2 0,-3 10 4 0,3-10-1 0,0 8 2 16,0-8 2-16,-2 6-40 0,2-6-75 15,0 0-89-15,-7 3-276 0,7-3 63 0</inkml:trace>
  <inkml:trace contextRef="#ctx0" brushRef="#br0" timeOffset="92580.47">29652 1422 86 0,'0'0'129'0,"-5"-6"-70"0,5 6 43 0,0 0-44 16,-7-3 39-16,7 3-37 0,0 0 32 0,-5-7-39 16,5 7 29-16,0 0-39 0,0 0 22 0,-4-4-38 15,4 4 15-15,0 0-35 0,0 0 20 0,0 0-37 16,0 0 21-16,0 0-36 0,0 0 37 0,0 0-26 16,0 0 22-16,-9 2-29 0,9-2 32 0,-2 5-7 15,2-5 2-15,-3 8 29 0,3-8-9 0,-2 13-6 16,0-5 5-16,-1 2-5 0,0 1-25 0,2 1 32 15,0 4-26-15,-2 0 28 0,0 0-31 0,2 2 26 16,-1 1-24-16,0 1 26 0,0 3-26 0,-2-2 24 16,1 2-26-16,-2 0 30 0,3-2-22 0,-1 2 35 15,-1 0-23-15,0-1 31 0,1 0-29 0,0-1 21 16,-1 1-26-16,0-4 19 0,2 0-27 0,-3-3 21 16,2 2-29-16,-1 0 28 0,2-2-2 0,-1 0 1 15,1 1-9-15,0-5-2 0,0 1-1 0,-1 2 7 16,3-4 2-16,-1 0-5 0,0 1 0 0,-1-2-9 15,2 0 4-15,-1-2 4 0,-1 0-5 0,2 0-4 16,0 1 6-16,2-3 4 0,-1 3 35 0,1-2 4 16,0 0-1-16,2 0-9 0,1-1-11 0,0 0-2 15,2 0-4-15,0 2-3 0,2-4-11 0,0 2 14 16,-1-2-19-16,3 2 10 0,-2-1-28 0,2-1 42 16,0 1-32-16,-1-1 11 0,2 3-11 0,-2-4 18 15,0 1-22-15,2 1 20 0,-2-2-22 0,0 1 23 16,-2-1-30-16,-8-2 24 0,15 5-18 0,-15-5 74 15,14 2-36-15,-14-2 45 0,12 2-42 0,-12-2 35 16,10 1-40-16,-10-1 29 0,0 0-15 0,13-4 0 16,-13 4-42-16,5-3 41 0,-5 3-39 0,6-7 60 15,-6 7-53-15,4-7 30 0,-4 7-37 0,3-8 29 16,-3 8-41-16,2-10 2 0,-2 10 1 0,2-8 3 16,-2 8-2-16,1-8 3 0,-1 8-3 0,1-7 0 15,-1 7-3-15,0 0-9 0,3-9 2 0,-3 9 0 16,0 0-4-16,5-5-6 0,-5 5 47 0,0 0-39 15,5 5 33-15,-5-5-43 0,2 7 45 0,-2-7-36 16,3 10 38-16,-3-10-36 0,1 12 30 0,-1-4-33 16,0-2 34-16,0 1-35 0,-1 0 30 0,0 2-29 15,-1-3 39-15,0 1-35 0,-1-1 29 0,1 0-30 16,-2 2 33-16,0-4-36 0,2 2 38 0,-1-1-37 16,0 1 39-16,0-1-36 0,3-5 37 0,-8 10-35 15,8-10 23-15,-8 8-26 0,8-8 1 0,-7 7-65 16,7-7-7-16,-7 9-55 0,7-9-38 0,-9 5-31 15,9-5-62-15,-9 6-71 0,9-6-197 0,-7 3-47 16</inkml:trace>
  <inkml:trace contextRef="#ctx0" brushRef="#br0" timeOffset="95185.53">30129 4651 294 0,'0'0'300'0,"-2"-8"-67"0,2 8-55 15,-2-8-23-15,2 8-20 0,-2-5-15 0,2 5-7 16,-5-6-4-16,5 6-15 0,0 0-14 0,-4-8-15 16,4 8-13-16,0 0-7 0,-7-2 18 0,7 2-14 15,0 0-16-15,-10 2-8 0,10-2 6 0,-8 9 4 16,3-3-7-16,-2 1-7 0,1 1 2 0,1 3-1 16,-2 1-10-16,2 0-1 0,0 3 3 0,3-1-20 15,0 0 23-15,-1 0-31 0,3-2 33 0,0 2-12 16,3-2 39-16,-1 0-3 0,0-1 8 15,3-1 6-15,-1-2 7 0,1-1-6 0,2 0 3 0,0 0 15 16,2-3 6-16,-2 0-17 0,-7-4-6 0,15 2 20 16,-15-2 9-16,14-3-17 0,-7-1 0 0,1-2 2 15,-1-1-6-15,-1-2-10 0,1-3-14 0,-2 0 3 16,0 1-8-16,-3 0-8 0,1-1-2 0,-2 1-6 16,0-1 0-16,-1 2-5 0,-1-1-2 0,0 1-9 15,-2 2-71-15,1 0-49 0,-5 1-38 0,2 1-50 16,0-1-38-16,-4 4-54 0,9 3-43 0,-12-5-423 15,12 5-273-15</inkml:trace>
  <inkml:trace contextRef="#ctx0" brushRef="#br0" timeOffset="95320.05">30334 4671 82 0,'3'7'-29'15,"-3"-7"10"-15</inkml:trace>
  <inkml:trace contextRef="#ctx0" brushRef="#br0" timeOffset="95677.57">30554 4573 375 0,'0'0'321'15,"9"-1"-84"-15,-9 1-51 0,0 0-27 0,6 8-10 16,-6-8-22-16,2 13-22 0,-2-4-8 0,0-1-29 16,0 2 6-16,0 2-32 0,-2-2 14 0,2 0-31 15,0 1 11-15,-1 0-18 0,0-1 38 0,1-2-29 16,-3 0 24-16,3-1-30 0,0-7 44 0,-1 14 33 16,1-14 32-16,-1 10 14 0,1-10-15 0,0 0-27 15,0 0-22-15,0 0-15 0,0 0-14 0,0 0-11 16,16-4-8-16,-16 4-12 0,13-9-4 0,-4 6-9 15,-1-1-3-15,2 2-3 0,-1 0 1 0,-9 2-11 0,20 0 9 16,-9 6-4-16,-1-2-7 0,1 4 3 16,1 2 1-16,-3 1 2 0,0 2 3 0,-2 1-29 15,2 0 41-15,-4 0-38 0,0 1 41 0,-1-1-31 16,-2 2 41-16,-2-5-12 0,-2 3 6 0,0-3 0 16,-5 2 2-16,1-3-11 0,-4-1-33 0,1-3-48 15,-3 0-48-15,1-1-62 0,-1-3-70 0,-3 0-66 16,2-4-391-16,-3-1-216 0</inkml:trace>
  <inkml:trace contextRef="#ctx0" brushRef="#br0" timeOffset="95818.57">30540 4634 311 0,'9'-13'388'16,"0"3"-73"-16,2 0-60 0,0 0-54 0,0 1-40 16,2 1-29-16,0 0-27 0,-1 2-19 0,1 1-14 15,-1 0-15-15,0 3-8 0,1 1-40 0,-1 0-64 16,-1 2-45-16,0 0-49 0,1 1-54 0,-3 1-52 0,2-1-181 15,-1 0 94-15</inkml:trace>
  <inkml:trace contextRef="#ctx0" brushRef="#br0" timeOffset="98633.76">29318 944 6 0,'3'14'11'0,"-2"-3"58"16,0-1-1-16,1 1-15 0,-2-2-7 0,1 2-10 16,0 0-6-16,-1 0-4 0,0 0-8 0,0-1 2 15,1 2-7-15,2-2 2 0,-3 2-11 0,1-1 24 16,-1 1-28-16,3 0 23 0,-3-1-21 0,0 1 22 15,-3 0-25-15,6 0 27 0,-6 0-36 0,3 0 33 16,-1 0-30-16,0-1 29 0,1 1-34 0,-3-2 34 16,3 1-28-16,0 0 26 0,-1 0-29 0,0 0 28 15,1-1-26-15,0 1 25 0,0 0-36 0,0 1 40 16,-2-1-3-16,2 0 0 0,0 1 0 0,-1-1-32 16,0 1 23-16,1 0-26 0,0-1 28 0,-2 2-30 15,1-1 35-15,1-2-30 0,0 2 26 0,-1 1-25 16,0-1 29-16,1 1-29 0,-2-1 25 0,2 1-26 15,-1-1 31-15,0 1-30 0,1-1 29 0,-2 0-30 16,1 0 28-16,1 0-31 0,-1 0 32 0,0 0-23 16,-1 0 28-16,-1 0-26 0,1 0 31 0,1-1-29 15,0 1 24-15,0-1-52 0,-1 1-12 0,2 0-70 16,-1-3-53-16,0 2 43 0</inkml:trace>
  <inkml:trace contextRef="#ctx0" brushRef="#br0" timeOffset="99743.76">30991 4786 304 0,'0'0'393'0,"0"0"-42"0,-5-4-46 0,5 4 9 15,0 0-29-15,-5-5-43 0,5 5 9 0,0 0-44 16,0 0-5-16,-3-6-50 0,3 6-15 0,0 0-44 15,0 0-1-15,0 0-36 0,0 0 6 0,-4-5-33 16,4 5 11-16,0 0-64 0,0 0-44 0,0 0-77 0,0 0-25 16,0 0-80-16,0 0-44 0,0 0-41 0,0 0-43 15,0 0-202-15,0-7-90 0</inkml:trace>
  <inkml:trace contextRef="#ctx0" brushRef="#br0" timeOffset="100067.76">31254 4518 237 0,'4'-6'302'15,"-4"6"-37"-15,5-9-45 0,-5 9-22 0,7-5-67 16,-7 5-14-16,6-5-46 0,-6 5-4 0,0 0-22 15,0 0 10-15,10 2 9 0,-10-2 28 0,4 10 24 16,-1-4 13-16,-1 3-14 0,2 1-28 0,-1 1-12 16,-1 2-4-16,1 1 17 0,-1 2-39 0,1-1 24 15,-1 2-43-15,0 0 27 0,0 0-32 0,0 1 32 16,0-2-43-16,-1 0 29 0,-1 0-40 0,2-3 31 16,-1 1-35-16,0 0 38 0,-1-2-38 0,0 1 32 15,0-3-32-15,0 0 30 0,0 0-27 0,-1-2 3 0,0 0-79 16,1 0-22-16,0-8-85 0,-2 10-100 0,2-10-481 15,0 0-274-15</inkml:trace>
  <inkml:trace contextRef="#ctx0" brushRef="#br0" timeOffset="100998.76">31663 4680 115 0,'0'0'361'0,"0"0"-64"0,0 0-7 16,0 0-52-16,0 0-3 0,0 0-64 0,-9-1-25 15,9 1-38-15,0 0-5 0,13-2-34 0,0 2 7 16,0-2-21-16,3 2 18 0,2 0-35 0,3 0 18 15,0 0-36-15,1 2 24 0,6-1-34 0,-2 0 8 16,-1 0-12-16,-3 0 26 0,-3 0-29 0,2 1-14 16,-5-1-72-16,0 0-35 0,-3 0-40 0,0 0-37 15,-2-1-24-15,-11 0-35 0,16 0-225 0,-16 0 33 16</inkml:trace>
  <inkml:trace contextRef="#ctx0" brushRef="#br0" timeOffset="101275.76">31906 4546 389 0,'-6'-5'297'0,"6"5"-72"0,0 0-69 0,-7-4-32 16,7 4-40-16,0 0-14 0,-8 5-22 0,8-5 19 15,-6 10-17-15,2-2 57 0,3 2-12 0,-3 2-1 16,2-1-26-16,-1 4-4 0,1 0-2 0,0 0-9 15,0 0-12-15,-1 2-1 0,3 1-11 0,-1-2-5 16,0 1 8-16,0-2-11 0,-1 1 0 0,2-2-3 16,-2 1-3-16,0-3-2 0,1 0 4 0,0 1-2 15,-2-2 4-15,3-1-8 0,-2 0-15 0,0 0-54 16,1-3-47-16,-2 0-60 0,2-2-105 0,1-5-282 16,-5 7-62-16</inkml:trace>
  <inkml:trace contextRef="#ctx0" brushRef="#br0" timeOffset="104411.7">30853 5716 164 0,'-4'-5'196'0,"4"5"-56"16,-7-8-24-16,7 8-19 0,-11-4-12 15,11 4 5-15,-14-3-19 0,14 3-20 0,-18 2-6 16,9 0-8-16,-1 2 9 0,1 1-6 0,0 3 5 0,-3 0 42 15,3 2-12-15,0 2-23 0,1 0 2 16,-1 3-15-16,3-1 6 0,1 1-31 0,1 1 48 0,2 1 5 16,0 0-7-16,3 0-3 0,2-1 1 15,-1 0-4-15,3 0-5 0,2-1 7 0,0-2 1 0,2 2-7 16,0-3 4-16,-1-1 15 0,2-2-6 0,-1 1 9 16,0-4-6-16,1 1-4 0,-1-2 8 0,2-3-17 15,-1-1 20-15,-10-1-16 0,18 0 9 0,-9-2 4 16,1 0-12-16,-3-4-10 0,1-1-7 0,1 0 4 15,-3-4-5-15,-2 2-2 0,0-2 3 0,-1-1-8 16,-1 0 0-16,-2-1-27 0,0-1 25 0,-2-1-25 16,-2 1 18-16,0-2-22 0,-1 3 16 0,0 0-23 15,-3 0 19-15,4 3-16 0,-1 0 15 0,1 0-33 16,-1 3-30-16,0 1-62 0,-1-1 14 0,1 2-75 16,5 5-2-16,-9-5-56 0,9 5-35 0,-7-4-32 15,7 4-22-15,0 0-204 0,0 0-26 0</inkml:trace>
  <inkml:trace contextRef="#ctx0" brushRef="#br0" timeOffset="104549.7">31079 5821 122 0,'7'8'349'0,"-7"-8"-102"16,5 5-45-16,-5-5-36 0,0 0-18 0,2 7-42 16,-2-7-12-16,0 0-26 0,-2 9 3 0,2-9-20 15,-5 5 4-15,5-5-91 0,-3 8-72 0,3-8-63 16,-2 7-260-16,2-7 99 0</inkml:trace>
  <inkml:trace contextRef="#ctx0" brushRef="#br0" timeOffset="104948.76">31237 5740 67 0,'0'0'434'0,"0"0"-150"0,8-5-61 0,-8 5-54 16,0 0-33-16,4 5-23 0,-4-5 22 0,1 9-25 15,-1-1-1-15,2-1-30 0,-2 1-2 0,1-1-29 16,0 5 19-16,-1-3-9 0,0 3 39 0,2-3-40 16,-1 2 29-16,0-1-31 0,-1 1-3 0,0-3-8 15,0 2-8-15,0-3-5 0,0 1-7 0,0-8-1 16,0 13-2-16,0-13 12 0,0 10 34 0,0-10 40 16,0 9 31-16,0-9-31 0,0 0-10 0,0 0-21 15,0 0-13-15,0 0-12 0,0 0-13 0,0 0-10 16,11-7-25-16,-11 7 12 0,11-5-23 0,-3 0 17 15,-1 1-27-15,2 0 23 0,1 3-25 0,-1 0 22 16,-9 1-22-16,23 0 22 0,-12 2-3 0,0 1-1 16,-1 2-2-16,-1 0 0 0,0-1 1 0,-1 4 0 15,-2-1 0-15,-1 0 4 0,1 0 0 0,-4 1 1 0,-2 0 3 16,0 0 1-16,0-1 3 0,-4 2 11 0,0-2-11 16,-3 0-5-16,-5 2 7 0,1-4 1 15,-2 2-15-15,-2-1-49 0,-1-3-32 0,1 1-11 16,-2-2-38-16,3 0-10 0,-1-4-41 0,1 2-13 15,0-2-24-15,-1-2-55 0,2-1-29 0,-1-3-249 16,2 0-68-16</inkml:trace>
  <inkml:trace contextRef="#ctx0" brushRef="#br0" timeOffset="105085.76">31203 5779 274 0,'12'-9'289'0,"-2"0"-43"16,2 1-52-16,0 0-29 0,2 2-29 0,0-3-7 15,-1 3-35-15,1 2 2 0,2-1-32 0,-4 0 0 16,2 2-27-16,-1 1 9 0,0 0-21 0,0 2 12 15,1 0-41-15,-1 0-44 0,-1 1-70 0,2 1-64 16,-1 1-85-16,1-2-139 0,0 1 136 0</inkml:trace>
  <inkml:trace contextRef="#ctx0" brushRef="#br0" timeOffset="105288.07">31888 5754 175 0,'0'0'354'0,"5"5"-98"0,-5-5-10 0,-1 7-9 0,1-7-14 16,-9 11-68-16,5-5-10 0,-3 3-29 0,0-1 30 16,-2 2-35-16,0-1 3 0,0 3-46 0,-3-2 18 15,1 2-43-15,1-1 20 0,-3 0-10 0,2 3-10 16,1-3-3-16,-2 0-29 0,1 0-43 0,0 0-32 16,-1 0-57-16,1-3-59 0,1 2-55 0,0-3-55 15,-2 3-260-15,4-7-62 0</inkml:trace>
  <inkml:trace contextRef="#ctx0" brushRef="#br0" timeOffset="105476.05">31637 5860 275 0,'0'0'412'0,"8"-8"-106"16,-8 8-40-16,7-6-70 0,-7 6-17 0,9-3-52 16,-9 3 13-16,11 3-41 0,-2 0 7 0,-1 1-43 15,0 2-4-15,3 2-18 0,-1 2 21 0,1-1-33 16,1 2 17-16,1 1-32 0,-1 3 24 0,2-2 1 15,-3 0-9-15,-1 0-1 0,-1-1-37 0,0 0-25 16,-1 1-50-16,-1-2-26 0,1 0-64 0,-3 0-52 0,2-2-67 16,0 0-220-16,-3-2-8 0</inkml:trace>
  <inkml:trace contextRef="#ctx0" brushRef="#br0" timeOffset="106309.76">32120 5827 117 0,'0'0'303'16,"14"-2"-68"-16,-14 2-53 0,14 5-33 0,-7-1-23 15,-1 1-1-15,-1 3-16 0,0-1-5 0,-3 3-19 16,1-1-6-16,-3 1-23 0,0 0 9 0,-3 3-20 16,2-3 9-16,-4 1-27 0,0 0 17 0,0 0-19 15,-2 0 8-15,2-3-19 0,-1 1 18 0,-2-1-28 16,4-1 24-16,-2 0-15 0,-1-2 15 0,4 0-20 16,3-5 33-16,-12 8-32 0,12-8 18 0,-5 4-23 15,5-4 28-15,0 0-33 0,0 0 20 0,0 0-32 0,0 0 18 16,0 0-30-16,0 0 15 0,8-4-10 0,-8 4 17 15,12-3-33-15,-12 3 39 0,15-3-20 0,-15 3 22 16,16-2-18-16,-16 2 18 0,19-3-22 0,-9 2 30 16,1 0-29-16,0 0 21 0,3 0-16 0,-1-1 19 15,0 0-22-15,0 0 17 0,2-1-11 0,0-1 11 16,1 1-10-16,-4 1 26 0,4-3-25 0,-5 0 10 16,-2 0 12-16,1 0 29 0,-1 0 6 0,0-1 14 0,-3 0 18 15,1 2-40-15,-3-2 20 0,-4 6-37 16,6-9 20-16,-6 9-39 0,2-6 23 0,-2 6-29 15,0 0 20-15,-4-6-35 0,4 6 33 0,0 0-35 0,0 0 39 16,-10 4-35-16,10-4 28 0,-3 6-26 0,3-6 35 16,-2 8-29-16,2-8 48 0,1 10-32 0,-1-10 31 15,4 8-25-15,1-1 38 0,-2-2-38 0,5 0 41 16,-1-1-37-16,0 2 26 0,2-3-31 0,-1 0 26 16,1-1-26-16,-9-2 31 0,16 4-28 0,-16-4 21 15,17-2-30-15,-7 0 23 0,-1-1-33 0,-2-1 27 16,0-2-26-16,1 0 26 0,-2-1-37 0,-2-2 5 0,1 2-6 15,-1-2 3-15,-3 0 6 0,3 0-5 16,-1-1 12-16,-1 2-9 0,-2-1-1 0,3 2 5 16,-1 0 11-16,0 1-21 0,0 0-6 0,-2 6-2 0,5-11 5 15,-5 11-2-15,7-6 5 0,-7 6 1 16,11-3 0-16,-11 3-1 0,14 1 0 0,-7 2-1 0,0 0 2 16,2 2 4-16,-2 1 2 0,2 1-2 0,0-2 0 15,1 5 36-15,0-3-39 0,3 2 35 0,-2-1-34 16,3 1 30-16,-1-1-36 0,1-1 35 0,3 1-32 15,-4-3 28-15,2 1-28 0,-1-2 30 0,1 1-31 16,-2-3 34-16,2-1-4 0,-3-1 63 0,1-1-21 0,-2 0-9 16,0-4-9-16,-1 0-5 0,-3-1-1 15,1-2-4-15,-3-1-14 0,-1 0-4 0,-3-3 1 16,-1 1 0-16,-1-1-11 0,-3-1 0 0,-1 0-3 0,-3 1 1 16,-1 1-5-16,-1 2 5 0,-4 0-46 15,-2 3-57-15,-1 1-31 0,-4 1-28 0,0 3-47 0,0 2-34 16,-6 2-69-16,-1 3-98 0,-4 0-237 0,0 3-154 15</inkml:trace>
  <inkml:trace contextRef="#ctx0" brushRef="#br0" timeOffset="106577.76">31515 6482 503 0,'0'0'435'0,"-15"-4"-77"0,15 4-106 0,0 0-18 15,-3-6-80-15,3 6 0 0,10-4-63 0,1 2 16 16,4 0-57-16,2 1 21 0,2 1-78 0,2 0-57 0,-3 0-86 15,2 1-91-15,-1 1-88 0,-3-1-178 16,0 0-3-16</inkml:trace>
  <inkml:trace contextRef="#ctx0" brushRef="#br0" timeOffset="106848.4">31555 6553 353 0,'-9'3'370'0,"2"1"-79"0,7-4-12 0,-9 4-91 15,9-4-10-15,0 0-56 0,4 6 8 0,-4-6-44 16,19 3 6-16,-6-2-36 0,6 2 13 0,1-1-36 15,1-2 18-15,2 0-67 0,5 0-7 0,-1-1-45 16,0-2-34-16,3 0-24 0,-4-1-21 0,1 0-7 16,-3-3 0-16,1-1 0 0,-3 1 21 0,-1-4 24 15,-2 0 22-15,-1 0 61 0,-3 1 67 0,1-1 29 0,-3 1 52 16,-2 2 29-16,-2-2 16 0,1 3 41 0,-3 1-34 16,0 0 2-16,-1 0-65 0,-1 2 1 15,-5 4-65-15,10-6 6 0,-10 6-35 0,0 0 17 0,0 0-20 16,7 5 13-16,-7-5-24 0,2 10 29 0,-1-3-37 15,0 0 37-15,-1 2-28 0,0 1 35 0,0 2-54 0,2-1-27 16,0 2-57-16,-2-1-39 0,2 1-62 16,-2-2-73-16,1 1-315 0,1-1-102 0</inkml:trace>
  <inkml:trace contextRef="#ctx0" brushRef="#br0" timeOffset="107293.4">32320 6496 223 0,'0'0'538'16,"3"-10"-177"-16,-3 10-51 0,-3-8-104 0,3 8-7 15,-5-3-74-15,5 3 2 0,0 0-57 0,-13-2 3 16,13 2-27-16,-10 4 6 0,10-4-32 0,-9 8 16 16,5-3-17-16,0 0 40 0,3 2-38 0,0-1 32 0,1-6-40 15,1 14 35-15,-1-8-36 0,3 1 36 0,-1 0-50 16,-2-7 33-16,9 11-26 0,-4-7 33 0,0 2-33 15,-5-6 30-15,11 5-33 0,-11-5 37 0,15 2-41 16,-15-2 34-16,13-3-38 0,-4-1 26 0,0 1-27 16,0-3 32-16,-2 0-44 0,2 0 36 0,-1-1-37 15,0 0 35-15,-1 4-34 0,-2-3 33 0,-5 6-42 16,12-6 4-16,-12 6 0 0,8-4 5 0,-8 4 2 16,0 0 2-16,9 5 35 0,-9-5-34 0,6 8 39 15,-2-3-43-15,-1 0 39 0,3 2-37 0,-1 0 17 16,1 0-13-16,4 1 31 0,-2-2-31 0,0 0 34 0,3 0-34 15,-1-1 36-15,1-1-32 0,0-1 54 0,1-1-22 16,-1 1 46-16,2-2 14 0,-3-3 8 16,2-1-16-16,-2 1 4 0,0-3-10 0,-1-1 8 0,-1-1-6 15,-1-1-14-15,-1-1-10 0,-3-1-10 0,1 1-5 16,-2 0-12-16,-1 1-7 0,-1 0-5 0,-3 0-57 16,1 2-66-16,-3 0-38 0,-2 1-44 0,-3 3-65 15,0 0-85-15,-2 1-121 0,-2 1-198 0,1 0-173 16</inkml:trace>
  <inkml:trace contextRef="#ctx0" brushRef="#br0" timeOffset="107553.4">31980 6834 498 0,'-14'4'619'0,"5"0"-85"0,9-4-67 0,-14 4-92 16,14-4-89-16,0 0-61 0,-6 3-44 0,6-3-37 16,16 1-28-16,-2-1-22 0,9 2-15 0,4-1-14 15,4 0-15-15,7 1-6 0,1-1-9 0,3 2-13 16,6-1 4-16,-5 0-12 0,-1-1-2 0,-3 0-92 0,-3 0-18 16,-4 0-79-16,-2 1 1 0,-4-1-63 0,-3-1-22 15,-2 1-65-15,-6-1-110 0,-1-1-224 0,-2 0-172 16</inkml:trace>
  <inkml:trace contextRef="#ctx0" brushRef="#br0" timeOffset="110548.03">32254 6898 45 0,'0'0'277'0,"0"0"-44"0,-1-7-21 0,1 7-21 16,0 0-28-16,0 0-7 0,-2-6-45 0,2 6-5 16,0 0-30-16,0 0 6 0,0 0-26 0,0 0 27 15,0 0-22-15,-2-5 28 0,2 5-31 0,0 0 25 16,0 0 4-16,0 0-6 0,0 0-6 0,0 0-6 0,0 0-11 16,0 0-4-16,0 0-11 0,0 0-11 15,0 0-5-15,0 0-14 0,0 0 0 0,0 0-8 16,0 0-7-16,0 0-4 0,0 0-1 0,0 0-1 0,0 0-2 15,0 0 7-15,-5 5 1 0,5-5-36 0,-2 10 22 16,2-4-4-16,-1 1 33 0,-2 1-32 0,3 2 29 16,-2 0-36-16,-1 1 41 0,3 1-26 0,-2 0 25 15,-1 1-33-15,2 0 32 0,0 1-23 0,-2-1 29 16,3 3-33-16,-1-3 37 0,0 3-42 0,-1-4 36 16,1 2-26-16,-2 0 31 0,2 0-30 0,-1-2 27 15,-1 0-27-15,0 0 25 0,0-3-31 0,-1 4 34 0,0-5-39 16,0 2 44-16,0-2-37 0,-1 0 38 0,1-1-26 15,-2 2 27-15,-2-2-36 0,1-2 43 16,-1 1-40-16,-1 0 34 0,-2-1-39 0,-1-2 12 0,-1 1-3 16,-1 1 32-16,-2-3-38 0,0 1 38 0,-3-2-40 15,2-1 36-15,-3 1-37 0,0-1 37 16,-1 0-39-16,-2-1 39 0,-4 0-9 0,-1-2-5 0,1-1 1 16,-2 1 0-16,-4-1-5 0,0-1 1 0,-1-1-2 15,2 0 1-15,-1 0-3 0,1 1 2 0,0-3-5 16,0 2 4-16,3-1-7 0,-2 0 6 0,6 1 2 15,-1-2-2-15,2 1-4 0,-1 3 4 0,1-5-1 16,1 3-3-16,1 0 0 0,1 0 6 0,-1 0-8 16,3 2 5-16,0-3-3 0,0 1 1 15,2 2 0-15,-5-1-8 0,2-3 2 0,3 4-8 0,-1-1 16 16,-2-2 3-16,-1 2-3 0,2 0-1 0,1-1 2 16,0 0-17-16,2 0 16 0,-3 1-4 0,2-2-7 15,0 1 14-15,1 1-3 0,0-2-3 0,-1 1 5 16,2 0-6-16,0 0 3 0,0 0-3 0,1 0 6 0,0-1-4 15,0 1-1-15,1 0 1 0,1-1 7 16,-2 0-8-16,1 0 10 0,1-1-15 0,0 1 8 16,1-2-1-16,-1 0 3 0,1-1-7 0,-2-1 8 15,1 1-12-15,3-1 14 0,-3-1-35 0,1 1 34 0,2-1-8 16,-2 0 9-16,2 0-9 0,-1 0-3 0,0-1 4 16,2 1-8-16,0 0 9 0,-1-2-2 15,0 1-6-15,2 0 5 0,0-1-3 0,1 1 9 16,1-2-7-16,-3 1 2 0,4-2-3 0,-1 1 5 0,3-2-2 15,-1 0-4-15,-1-1 2 0,2-1 1 16,0-3-3-16,-1-1 8 0,1-2-8 0,2 1-12 0,-2-1 16 16,1 1-1-16,1-2 4 0,-2 0-3 15,2 1 2-15,-2 0-7 0,2 1 6 0,-2 0-4 0,2-1 4 16,0 0-6-16,0 2 11 0,-1-2-9 0,0 1-4 16,0 1 5-16,1-1-2 0,0 0 5 0,0-1-5 15,0 2-4-15,1-1 7 0,0-1-4 0,0 3 11 16,1 0 4-16,0 1-8 0,1 0 1 15,-1 2-5-15,3 0 4 0,-2 1-6 0,-1-1 5 0,2 2 3 16,0-1-5-16,1 1 1 0,-1-1 1 0,4 1-16 16,-3 0 22-16,1 2 0 0,-1 0-9 0,2 1 8 15,-1 0-6-15,4-1-2 0,-2 0 1 0,0 4 0 16,3-3 1-16,-2 2 0 0,2 2-4 0,0-1 6 16,-1 0-8-16,3 0 3 0,0 2 6 0,0-1-3 15,-1 0 0-15,1 1-2 0,1 1 3 0,-1-1 0 16,0 1-1-16,1-1 0 0,-1 1-1 0,0-1-2 15,0 1 0-15,1-1 6 0,-1 2-7 16,0 0 6-16,1-1-3 0,-2 1 7 0,0-2-5 0,0 2-1 16,-1 1-1-16,-1-1 1 0,-1 2-6 0,1 0 2 15,0-1 0-15,-3 1 5 0,2 1-2 0,0 0 2 16,0-2 2-16,0 2-4 0,0 0-1 0,1 0 4 16,-1 0 3-16,2-1-10 0,-3 2 5 15,1 0-4-15,0-1 8 0,0-1 1 0,1 1-7 0,-1 0 0 16,-1 0-1-16,2-1 1 0,-1 0 0 15,-2 2 2-15,0-2-5 0,2 3 6 0,-2-3-1 0,0 1 7 16,-7 4 1-16,12-7-4 0,-6 5-4 0,-1-3 3 16,2 0-9-16,-1 1 5 0,2 0-5 0,-1 0 4 15,0-2 5-15,-1 1 1 0,-1 2-6 0,4-2 0 16,-4 0 1-16,2 0 1 0,-1 1-2 0,2-3 0 16,-2 3 3-16,-1-1-3 0,2 0 34 0,-2-1-40 15,1 0 37-15,-1 0-36 0,2 1 29 0,-2-1-36 16,0 0 39-16,-1 1-41 0,1-2 32 0,0 2-30 15,0 1 29-15,-1-3-26 0,-4 7 31 0,6-10-36 16,-2 6 40-16,0-2-40 0,-4 6 37 0,8-8-42 16,-8 8 42-16,5-8-25 0,-5 8 27 0,5-5-31 15,-5 5 25-15,2-6-34 0,-2 6 33 0,0 0-29 16,6-5 29-16,-6 5-39 0,0 0 34 0,2-6-33 16,-2 6 21-16,0 0-21 0,0 0 33 15,0 0-26-15,0 0 35 0,0 0-36 0,0 0 32 0,0 0-36 16,-9 1 36-16,9-1-31 0,-13 5 34 0,13-5-34 15,-16 4 27-15,7-1-27 0,-1-1 34 0,-1 1-32 16,1-1 27-16,-4 0-24 0,4 2 25 0,0-2-28 16,-2 0 21-16,1-1-18 0,2 1 32 15,9-2-31-15,-17 3 26 0,17-3-25 0,-13 2 32 0,13-2-7 16,-12 1 39-16,12-1-17 0,0 0 10 0,-15 0-30 16,15 0 13-16,0 0-33 0,0 0 24 0,0 0-31 15,7-7 22-15,-7 7-25 0,13-2 23 0,-13 2-27 16,18-2 31-16,-18 2-31 0,19 0 21 0,-19 0-27 15,20 1 24-15,-10 0-24 0,1 2 29 0,-2 1-32 16,2 1 34-16,-3 1-31 0,1 0 29 0,-2 0 0 16,2 1-5-16,-2 0 1 0,0 3-1 0,-1-3 16 15,-1 2-16-15,1-1-3 0,-1 0 0 0,0 1 2 16,-2-1 2-16,1 1-6 0,-2-2 3 0,2 2 1 16,0-2 4-16,-2 3 2 0,0-2 1 0,0 2-45 15,-1 0-59-15,2 1-61 0,-2-1-92 0,1 1-105 16,-1 1-394-16,0-1-258 0</inkml:trace>
  <inkml:trace contextRef="#ctx0" brushRef="#br0" timeOffset="129621.84">30534 7676 39 0,'0'-7'352'0,"0"-1"-24"0,0 0-99 0,2 1-8 16,-1 0-62-16,-1 1 10 0,2-1-39 0,-2 7-2 0,2-11-54 15,-2 11-2-15,3-7-37 0,-3 7 3 16,0 0-30-16,0 0 27 0,6 5-16 0,-6 0 43 0,3 5-18 16,-2 2 15-16,0 5-2 0,-1 2 3 15,0 1-11-15,0 7 6 0,0-1-8 0,-1 2-4 16,0-2-9-16,-1 1-2 0,1 0-5 0,1 0 1 0,-2-1 7 15,0-2-6-15,0-1-4 0,-1 0 0 0,1-4-5 16,0-1-5-16,-1-1-1 0,1-3 0 0,0 2-4 16,-1-4 9-16,3-2 2 0,-2 1 39 15,0-2 19-15,1-1 67 0,0-1 43 0,1-7-11 0,-3 8-37 16,3-8-28-16,0 0-22 0,0 0-18 0,-6-5-18 16,3-1-8-16,3-5-13 0,-2-2-3 0,-1-4-10 15,2-3-4-15,-2-6-12 0,2-1-15 0,1-7-12 16,1-2 5-16,1 0-2 0,0 0 7 0,3-1 0 15,-1 2 5-15,3-5-10 0,0 8 4 0,3 2-7 16,-1 0 9-16,3 4-13 0,1 0 11 0,1 2-10 16,1 4 0-16,-2 4 0 0,1 2 1 0,1 3 4 15,-1 4 3-15,3 1-4 0,-6 4 11 0,5 2 8 16,-5 1-8-16,2 2 16 0,-3 4-13 0,-1 0 15 16,1 1-9-16,-3 3 7 0,-3 1-8 0,-2-3 5 15,-1 5-9-15,-1-2 9 0,-1 0-10 0,0 0 12 16,-2 0-18-16,-2 0 16 0,3 0-10 15,-3-3 12-15,2 2-9 0,-1-1 9 0,2-2-16 0,-1 0 13 16,0 0-19-16,2-2 9 0,1-6-12 0,-2 12 19 16,4-6-16-16,-2-6 15 0,5 10-18 0,-1-6 10 15,3 1-21-15,0 0-1 0,0 0 4 0,-1-1 3 16,-1 1 2-16,0 0 0 0,0-1 2 0,0 0 3 16,-5-4 3-16,6 9 3 0,-6-9 4 0,-2 8 0 15,2-8 1-15,-7 7 3 0,-2-3 2 0,0 0-1 16,-3-1 3-16,1 1 13 0,-1-2-14 0,-1-1 13 15,-1 2-15-15,0-1 13 0,0-1-19 0,1 2 22 16,0-1-17-16,2 1 15 0,0-2-82 0,-1 1-35 16,12-2-52-16,-15 2-48 0,15-2 2 0,-13 3-6 15,13-3-52-15,0 0-90 0,0 0-283 0,0 0-145 16</inkml:trace>
  <inkml:trace contextRef="#ctx0" brushRef="#br0" timeOffset="129982.99">30861 7817 108 0,'6'4'403'0,"-6"-4"-85"0,4 8-64 0,-4-8-40 16,-1 11-23-16,-1-3-36 0,1 0-27 0,1 2-10 15,0-1-21-15,0 2 2 0,0 0 38 0,3 1-14 16,-1-1-24-16,3 1-16 0,0-1-2 0,-1 0-7 16,3 3-6-16,0-4-12 0,2 0 5 0,2 0 0 15,-2-1 0-15,-1-2 10 0,1 0 12 0,-2-3 3 16,1-1-10-16,-8-3-15 0,16 2-12 0,-16-2-5 15,13-4-6-15,-7-1-4 0,-1-2-12 0,0-2-2 16,-1 0-6-16,-1-2 1 0,-2 0-3 0,0-1-5 16,-1 1-39-16,-2-1-37 0,-1 2-15 0,1-1-36 15,-2 2-28-15,-1-1-25 0,-2 3-13 0,4 0-17 16,-4 1-7-16,3 1 0 0,0 1 12 0,4 4 33 16,-8-8 33-16,8 8 24 0,-5-5 22 15,5 5 30-15,0 0 50 0,0 0 22 0,0 0 27 0,0 0 9 16,7-4 13-16,-7 4-27 0,13 0 44 0,-13 0-9 15,23 0-8-15,-8 0-9 0,4 0-8 0,1 0-33 16,3 1 19-16,-2 0-4 0,2-1-1 0,0 0-57 16,2 1-67-16,-2-1-68 0,-2-1-75 0,2-2-251 15,-2 0 22-15</inkml:trace>
  <inkml:trace contextRef="#ctx0" brushRef="#br0" timeOffset="130184.99">31294 7700 52 0,'0'0'414'16,"-12"6"-77"-16,7-1-6 0,-2 1-65 0,2 2-38 16,-1 0-22-16,3 4 0 0,-1-3-30 0,1 3-33 15,3 1-36-15,-2 1-16 0,0 1-18 0,2 1-9 16,2 0-10-16,-2 2-9 0,1-1-9 0,0 1-2 16,-1 0-9-16,1-1-20 0,1-1-36 0,-1-3-46 15,-1 1-29-15,1-2-35 0,-1-1-25 0,0 0-28 16,0-2 17-16,0-2-22 0,0-7-122 0,0 7-145 15,0-7 52-15</inkml:trace>
  <inkml:trace contextRef="#ctx0" brushRef="#br0" timeOffset="130672.09">31410 7806 345 0,'11'-7'342'0,"-3"2"-88"0,1 1-16 16,-9 4-31-16,15 0-17 0,-15 0-33 0,15 7-20 15,-9-1 16-15,-1 3-13 0,-1 0-17 0,1 3-19 16,-2 0-14-16,-1 3 15 0,0-1-12 0,-1 2-14 15,-1-2-19-15,-1 2-3 0,1-1-5 0,-2 1 1 16,0 0-9-16,-1-2 3 0,-1-2-4 0,2 0 3 16,-1-2 9-16,-2 0 2 0,3-1 10 15,-2-1 21-15,1-3 7 0,3-5-13 0,-9 9-3 0,9-9-14 16,-9 1-5-16,9-1-18 0,-9-5-1 0,7 0-6 16,-2-3-6-16,1-3-5 0,0-5-6 0,0 0-40 15,3-5-14-15,0 0 7 0,0-2-24 0,0-2-3 16,4-1-10-16,1 2 22 0,-1-1-10 0,2 2 2 15,1 0-5-15,0 3 19 0,2 1-8 0,1 1 17 16,1 1-10-16,1 1 6 0,1 4 4 0,-4 0 12 16,3 4-10-16,-1-1 15 0,-1 5-11 0,-2 0 16 15,1 2-11-15,-9 2 12 0,15 0-7 0,-8 2 4 16,-7-2 1-16,11 8 1 0,-4-3 2 0,0 4 1 0,-2-2 1 16,-1 1-1-16,3 1-5 0,-2 3 0 0,0-3 3 15,1 3-7-15,-1 1 2 0,0-2 10 0,2 1-3 16,-2 1 0-16,1-2-7 0,-1 1 6 0,-1-2 4 15,0-2 2-15,-1 2-3 0,-1-2-8 0,0-1-4 16,-1 1 15-16,-2-1 2 0,-2-2-3 0,-1 0-1 16,-2-2 2-16,1 2 4 0,-5-3-2 0,-1 0-2 15,11-2-11-15,-20 1 8 0,8-2 7 0,2 1-6 16,-3-3 9-16,3 2-3 0,-3-1 2 0,4-1-1 0,0 2 4 16,0-1-18-16,9 2-28 0,-14-3-41 0,14 3-95 15,-9-4-75-15,9 4-50 0,0 0-50 16,3-8-251-16,-3 8-111 0</inkml:trace>
  <inkml:trace contextRef="#ctx0" brushRef="#br0" timeOffset="130827.09">31751 7838 346 0,'15'4'354'0,"-15"-4"-61"15,12 6-7-15,-12-6-43 0,8 8 12 0,-5-3-39 16,-1 1-39-16,-2 0-19 0,0 1-36 0,0 1-24 16,0 2-23-16,0-1-9 0,-2 1-9 0,0 1-7 15,1 0-14-15,-2 0-1 0,2 0-2 0,-1 0-50 16,0 0-47-16,1 0-78 0,-2 0-57 0,2-1-54 15,1-2-99-15,0-1-235 0,0-7-98 0</inkml:trace>
  <inkml:trace contextRef="#ctx0" brushRef="#br0" timeOffset="131024.09">32123 7778 513 0,'7'-4'504'0,"-7"4"-124"0,10-6-93 0,-10 6-46 15,0 0-2-15,0 0-25 0,0 0-43 0,1 9-30 16,-1-9-27-16,-10 9-25 0,6-1-18 0,-1 0-29 0,-1 0 10 16,-1 2-2-16,-2 0-28 0,2 0 15 15,0 3-25-15,-2-4-30 0,-1 2-66 0,1-3 0 16,0 2-72-16,-2-3-25 0,1 2-62 0,-1-3-34 0,1-3-102 16,1-2-170-16,9-1-58 0</inkml:trace>
  <inkml:trace contextRef="#ctx0" brushRef="#br0" timeOffset="131179.11">31915 7786 154 0,'0'0'602'0,"0"-11"-127"0,0 11-103 0,0-9-76 16,0 9-58-16,0 0-30 0,3-6-1 0,-3 6-24 15,0 0-22-15,0 0-28 0,16 3-24 0,-16-3-22 0,11 8-14 16,-3-2-11-16,-1 1-11 0,0 4-7 0,3 0-5 16,0 2-6-16,-1-1-15 0,1 2-67 0,1 2-74 15,-2-2 0-15,0 1-70 0,-1-2-26 0,1 1-62 16,-3 0-57-16,3-3-366 0,-2 0-210 0</inkml:trace>
  <inkml:trace contextRef="#ctx0" brushRef="#br0" timeOffset="131578.27">32419 7931 329 0,'0'0'314'16,"0"0"-51"-16,0 0-66 0,12-2-23 0,-12 2-62 15,0 0-3-15,13-2-41 0,-13 2 4 0,12 0-27 16,-12 0 8-16,14-1-20 0,-14 1 1 0,19 0-49 16,-9 1-26-16,2-1-26 0,-1 0-18 0,1 1-9 15,0 0-1-15,0-1 3 0,1 2 15 0,-3-1-4 16,-10-1 22-16,22 1 11 0,-22-1 7 0,16 1 13 0,-16-1 1 15,17 1 10-15,-17-1 5 0,15 1 2 0,-15-1-4 16,17 2 1-16,-17-2 6 0,17 0 3 0,-17 0-1 16,17 1 1-16,-17-1 4 0,21 0 1 0,-21 0 2 15,20 0 10-15,-20 0 4 0,22 0 8 0,-12 0 2 16,3 1 8-16,-2 1 7 0,2-2 9 0,1 1 6 16,-1 0 3-16,4-1 6 0,-3 1-5 0,2 0-1 15,0 0-7-15,0-1-8 0,0 0-5 0,0 2-8 16,-3-2-2-16,0 0-4 0,-13 0-6 0,20 0 0 15,-20 0-26-15,18 1-50 0,-18-1-71 0,12-1-91 0,-12 1-178 16,0 0 149-16</inkml:trace>
  <inkml:trace contextRef="#ctx0" brushRef="#br0" timeOffset="132425.02">31806 8453 52 0,'0'0'388'0,"0"0"-83"0,-7 6-34 16,7-6-26-16,-5 12-1 0,2-1-20 0,3 2-8 16,-4 2-24-16,2 4-3 0,-1 3-33 0,1 1-24 15,0 1-11-15,1 0-19 0,0 1-15 0,-1-2-8 16,1 2 4-16,1-3-11 0,0-1-12 0,1-1-7 16,1 0-4-16,-2-1-10 0,0-1-8 0,0-1-5 0,0-3-2 15,1 0-8-15,-2-2 3 0,1-2 2 0,0 0 22 16,0-2 78-16,0 0 60 0,0-8-14 0,-2 9-18 15,2-9-41-15,0 0-21 0,0 0-22 0,-8-4-8 16,4-3-11-16,1-5-19 0,-1-2-49 0,-1-4-21 16,4-5-2-16,-2-1-19 0,5-5-16 0,0-1-16 15,2-4 1-15,4-5-1 0,3 2 14 0,3 2-11 16,4 2 34-16,0 2-4 0,4 4 27 0,-2 6-11 16,0 0 18-16,0 3-11 0,-2 5 3 0,-2 2 6 15,2 1 2-15,-2 6 24 0,-1 0-16 0,-1 3 17 16,-1 1-12-16,-2 2 0 0,-2 1 0 0,1 1 8 0,-5 3 3 15,1 1-2-15,-4-1 7 0,1 2-4 0,-2 0 3 16,-2 2 1-16,-1-2-3 0,1 2 3 16,-3 0 0-16,-1-1 0 0,1-1 1 0,-2 1 2 0,2-2-2 15,0 0 0-15,-1 0 1 0,1-1 4 0,1-2-1 16,3-5 10-16,-7 10 3 0,7-10-13 0,-5 8 9 16,5-8-4-16,0 0-8 0,-2 6-23 0,2-6-21 15,0 0-1-15,0 0 1 0,12 2 2 0,-12-2 11 0,9 1 0 16,-9-1 2-16,11 3 9 0,-11-3-2 15,10 1 0-15,-10-1-1 0,7 4-1 0,-7-4 8 16,4 3 5-16,-4-3 0 0,0 0 3 0,0 9 4 0,0-9 15 16,-9 7 10-16,9-7-3 0,-16 6-4 15,7-4 0-15,0 2 1 0,-3-2 0 0,2 2 1 0,-1-2-9 16,0 1 0-16,1-1 3 0,-1 2 1 0,0-2-6 16,2 1-53-16,-1 0-48 0,1 0-45 0,9-3-64 15,-13 4-43-15,13-4-41 0,-12 6-64 0,12-6-226 16,-7 4-92-16</inkml:trace>
  <inkml:trace contextRef="#ctx0" brushRef="#br0" timeOffset="133152.07">32223 8695 311 0,'14'0'313'16,"-14"0"-80"-16,10 2-15 0,-4 2-45 0,-1 0-4 16,0 3-47-16,-3 2 18 0,1-2-13 0,-1 3 8 15,-2-1-48-15,-2 2 10 0,-1-2-43 0,-1 2 17 16,-2 2-31-16,0-2 25 0,-1 0-16 0,-2 0-6 15,2 0-8-15,-2-3-5 0,2 0 0 0,1-1-8 16,-2 0-2-16,3 0-2 0,1-3 16 0,-1 1 27 16,5-5 23-16,-6 9 13 0,6-9-20 0,0 0-22 15,-7 3-10-15,7-3-9 0,0 0-10 0,0 0-10 16,11-1-14-16,-11 1-15 0,11-3-12 0,-2 0-2 16,1 0 0-16,-1 0 2 0,4-1-28 0,-3 0 39 0,3 0-29 15,2-2 39-15,0 0-33 0,1 1 43 16,-2-2-39-16,1 0 41 0,-2 0-37 0,1-1 36 0,-2 1-28 15,-1 0 49-15,-2 1-20 0,0 1 60 0,-2 1-31 16,0-1 19-16,0 0-40 0,-7 5 21 0,6-5-37 16,-6 5 27-16,0 0-41 0,0 0 32 0,0 0-26 15,-8 7 24-15,3-2-32 0,3 1 32 0,-1 0-18 16,1 1 45-16,0 1 18 0,2 0 3 0,0 0-8 0,0 1-7 16,2 0 5-16,0 0 7 0,2 2 21 0,1-4-2 15,-1 1-3-15,2-2-8 0,-1 0-9 16,3-1-4-16,0-1-12 0,-8-4 0 0,13 2-14 0,-13-2-1 15,14-2-11-15,-4-2 3 0,-4-2-9 0,3 0 7 16,-1-3-13-16,-3 1 7 0,1-1-14 0,-1 1 8 16,2 0-12-16,-3 1 11 0,2 0-16 0,-2 0 2 15,-2 1-56-15,-2 6-28 0,6-7-24 0,-6 7 44 16,0 0-8-16,5-5 39 0,-5 5-16 0,0 0 37 16,0 0-23-16,5 5 35 0,-5-5-20 0,7 7 23 15,-7-7-14-15,9 8 24 0,-5-3-26 0,4-3 29 0,0 3-17 16,0-2 19-16,0 1-18 0,1-2 21 15,-9-2-18-15,18 3 25 0,-18-3-26 0,14-1 25 16,-14 1-21-16,15-3 17 0,-15 3-21 0,12-7 24 0,-8 2-25 16,-2 0 21-16,3-2-23 0,-5 0 22 0,0 1-28 15,-1-3 27-15,-3 2-24 0,-1 0 20 0,1-2-63 16,-1 3-18-16,-3-2-73 0,1 1-28 0,-1 3-69 16,2-3-41-16,-1 3-69 0,2 0-348 0,-2 1-208 15</inkml:trace>
  <inkml:trace contextRef="#ctx0" brushRef="#br0" timeOffset="133359.58">32847 8527 108 0,'11'-3'604'16,"-11"3"-201"-16,8-3-65 0,-8 3-97 0,0 0 17 15,8 4-68-15,-8-4 18 0,3 8-65 0,-3-8 5 16,-3 13-57-16,1-5 11 0,-1 2-39 0,-1-1 16 15,0 1-44-15,-1 4 25 0,-1-2-37 0,0 0 22 0,0 0-45 16,-2 0-46-16,3-3-67 0,-3 2-16 16,1-2-67-16,0-1-42 0,0-2-61 0,-1 0-88 0,-1-3-154 15,1 0-48-15</inkml:trace>
  <inkml:trace contextRef="#ctx0" brushRef="#br0" timeOffset="133513.58">32697 8606 588 0,'0'-10'435'0,"0"10"-50"0,3-7-102 0,-3 7-15 15,2-7-92-15,-2 7 26 0,7-3-56 0,-7 3 8 16,0 0-49-16,16 1 1 0,-8 2-38 0,0 1 8 16,-1 1-38-16,3 1 23 0,1 2-40 0,-2 1-2 0,2 0-91 15,-2 0-4-15,0 2-72 0,1-2-24 16,-1 2-44-16,0-3-48 0,0 2-45 0,0-3-278 16,-1 0-99-16</inkml:trace>
  <inkml:trace contextRef="#ctx0" brushRef="#br0" timeOffset="133959.11">32986 8701 93 0,'10'-5'384'0,"4"1"-88"16,-5 0-40-16,3 1-33 0,-1 1-25 0,-2 1-62 16,3 0-6-16,-12 1-53 0,16 0-10 0,-16 0-15 15,14 4-11-15,-14-4-7 0,9 5-4 0,-9-5-6 16,4 11-3-16,-4-11 2 0,0 10-7 0,-2-3-2 0,-2-2-3 16,1 2-2-16,-3 1 1 0,1-4 0 0,0 2-3 15,1 2-3-15,-1-4-6 0,1 1 10 16,1 0-1-16,3-5-12 0,-7 8-11 0,7-8-4 0,-4 6 7 15,4-6-16-15,0 0-26 0,1 7-11 0,-1-7-13 16,10 3-6-16,-10-3 4 0,14 1 10 0,-14-1 11 16,18 0 15-16,-18 0 11 0,18-2 4 0,-18 2 6 15,21-4 13-15,-14 1 30 0,5 0 19 0,-3 1 6 16,0-2 11-16,-2 0 5 0,2 1-3 0,-1-1-13 16,-2 1 8-16,-6 3 1 0,11-6 11 0,-11 6-6 15,10-6-20-15,-10 6-8 0,6-4-8 0,-6 4-6 0,0 0 0 16,9-2-8-16,-9 2 0 0,0 0-1 15,0 0-2-15,5 4-1 0,-5-4 4 0,5 7 16 16,-5-7 7-16,5 5-7 0,-5-5 8 0,8 7-5 0,-3-2-6 16,3 0 4-16,1-2-2 0,-2 1 2 0,3 0-7 15,0-2-4-15,0 0 7 0,0-1-4 0,-10-1-1 16,21 0-6-16,-11-3-1 0,1 1 3 0,-2-3 4 16,-1 0 5-16,-2 1 15 0,2-4-8 0,-4 1 1 15,0 0-6-15,-2-3-2 0,-2 3-7 0,0 0-2 16,0 0-1-16,-2-1-3 0,-1 2-3 0,-1 1 35 15,4 5-39-15,-11-9-13 0,11 9-81 0,-14-5-55 16,14 5-96-16,-17-1-134 0,17 1-217 0,-20 1-109 0</inkml:trace>
  <inkml:trace contextRef="#ctx0" brushRef="#br0" timeOffset="136290.88">31594 8211 244 0,'0'0'236'0,"0"0"-47"0,0 0-52 0,4-7-21 16,-4 7-2-16,0 0 13 0,5-6-22 0,-5 6-18 0,4-3-16 15,-4 3 24-15,4-5-25 0,-4 5-2 16,4-6-22-16,-4 6 8 0,3-5-15 0,-3 5 10 16,0 0-22-16,4-5 5 0,-4 5-25 0,0 0 6 0,0 0-18 15,0 0 1-15,0 0-9 0,0 0 9 0,0 0-12 16,2 7 12-16,-2-7-2 0,-6 12-14 0,3-2 22 16,-5 2 1-16,3 1 2 0,-4 3 20 0,-1 2-6 15,-2 0 27-15,-2 5-8 0,0-1-3 0,-4 2 11 16,3-2 26-16,-2 3-13 0,-2-2-4 0,3 1-8 15,0-1-2-15,-3 1-5 0,4-3-3 0,-2 3-4 16,0-4-4-16,2-1-2 0,2-2-2 0,-2 0-1 16,4-3-7-16,0-1 5 0,0-1-10 0,2 0-1 15,0-2 1-15,1-2-1 0,3 0-1 0,-1-1 1 16,1 0 5-16,-1-2-4 0,6-5-20 0,-8 8-19 16,8-8-8-16,-7 6-54 0,7-6-98 0,0 0-70 15,0 0-62-15,-6-3-235 0,6 3-69 0</inkml:trace>
  <inkml:trace contextRef="#ctx0" brushRef="#br0" timeOffset="136545.42">31188 8503 191 0,'0'0'269'0,"-5"11"-50"0,1-4-5 0,0 4-12 15,3-1-40-15,-2 2 15 0,3 1-28 0,-1 0 7 16,2 3-15-16,1 1-27 0,0-1-2 0,3 1 6 15,3 2 8-15,0-1-29 0,1-1-10 0,1 0-11 16,-1-2-19-16,0-1-7 0,-2-1 1 0,2-1 0 16,0-2 4-16,0 0 5 0,-1-2 5 0,-1-3-12 15,1 1 1-15,0-1-10 0,1-2-4 0,-9-3-4 16,14 2-10-16,-14-2 6 0,16-1-67 0,-9-3-41 16,-1 2-50-16,1-3-46 0,-1 0-37 0,0 2-63 15,-6 3-118-15,7-9-241 0,-7 9-141 0</inkml:trace>
  <inkml:trace contextRef="#ctx0" brushRef="#br0" timeOffset="137852.27">31093 9101 257 0,'0'0'332'0,"0"0"-100"0,0 0-55 0,0 0-22 16,0 0-38-16,0 0 29 0,-5 6-5 0,4 1 30 15,0 3-42-15,-2 1 38 0,3 3-1 0,0 2-38 16,-2-1-4-16,0 2-27 0,1 1-13 0,0 0-9 16,-2 0-13-16,3 0-11 0,-2 0-3 0,0 0-6 0,1 1-5 15,-3-1-6-15,3 0-3 0,-2 0-2 0,0-1-4 16,-1 0-6-16,1-1 1 0,-1-4-19 15,0 2-33-15,2-2-28 0,-1-3-29 0,-2 1-16 0,3-3-39 16,-3 0-53-16,5-7-63 0,-7 7-111 0,7-7-185 16,0 0-75-16</inkml:trace>
  <inkml:trace contextRef="#ctx0" brushRef="#br0" timeOffset="138040.26">31061 9094 58 0,'4'-10'422'0,"-4"10"-125"16,0 0-60-16,0 0-20 0,0 0-53 0,0 0-5 16,-12 2-34-16,6 5 2 0,-1-3-43 0,0 3 6 15,-4 2-38-15,2 0 14 0,0 2-33 0,-1 0 10 16,-2 0-16-16,4 2 14 0,-2-1-2 0,1 1-7 16,0 1-71-16,0-1-57 0,2-1-49 0,0 2-68 15,0-2-105-15,1-1-155 0,3 0 45 0</inkml:trace>
  <inkml:trace contextRef="#ctx0" brushRef="#br0" timeOffset="138227.26">30838 9467 367 0,'-1'8'373'0,"1"-8"-49"0,0 9-26 0,0-9-29 16,8 7-20-16,-8-7-30 0,13 6-30 15,-4-2-31-15,4-1-25 0,0 0-16 0,1-1-15 0,1 0-22 16,0 1-12-16,2 0-15 0,0-1-15 0,-3 0-2 15,1-1 2-15,-2 1-5 0,-3-2-11 0,4 1-38 16,-14-1-42-16,18 0-48 0,-18 0-70 16,17-1-104-16,-17 1-143 0,11-4-243 0,-11 4-174 15</inkml:trace>
  <inkml:trace contextRef="#ctx0" brushRef="#br0" timeOffset="139089.31">30991 9801 430 0,'0'0'318'0,"-8"-8"-67"16,8 8-43-16,-6-6-52 0,6 6-29 0,-11-3-24 15,11 3-13-15,-13 0-12 0,13 0-11 0,-18 5-6 0,9-2-23 16,0 4 20-16,0 0 26 0,-1 1 13 0,1 2-29 16,1 1 8-16,-1 1-18 0,3 1 3 0,-1 0-22 15,2 0 5-15,1 2-14 0,2 0 7 0,1-3-10 16,-1 1-4-16,4 0-1 0,-1 0 12 15,1-2-7-15,2 1-1 0,0-1-1 0,1 1 7 16,2-3 15-16,0 0 4 0,2-3 15 0,0 0-21 16,0-1 5-16,1-3-4 0,1 1 21 0,1-5-10 15,-1 1 14-15,0-1-20 0,2-4 8 0,-2-1-25 0,2 0 14 16,-1-4-21-16,-3 0 7 0,0-1-17 16,-1-2 11-16,0 1-19 0,-3-2 13 0,-1 0-17 15,-1 0 15-15,-3 1-18 0,-1-2 15 0,-3 2-14 16,-3-2 9-16,1 1-14 0,-3 3 14 0,-1-1-19 0,-1 2 18 15,-3 2-71-15,2 0-31 0,-4 3-56 0,2 2-74 16,-2 2-46-16,2 0-80 0,-2 2-463 0,2 0-343 16</inkml:trace>
  <inkml:trace contextRef="#ctx0" brushRef="#br0" timeOffset="140341.86">33001 9112 163 0,'0'0'457'0,"0"0"-134"0,3-8-39 16,-3 8-92-16,0 0-30 0,0 0-62 15,0 0-1-15,0 0-41 0,0 0 30 0,2 9 27 16,-3-2-25-16,0 4 23 0,0 0-45 0,-1 1 7 16,-1 6-39-16,1-1 25 0,1 1-37 0,0 1 21 15,0 0-33-15,-1 1 31 0,0 2-34 0,-1-1 24 0,-1 2-26 16,2-2 23-16,-2-2-34 0,1-1 25 15,-1-1-72-15,-2-2-4 0,4 1-54 0,-2 0-9 16,0-3-41-16,1-3-39 0,-1 2-17 0,2-4-38 16,-1-1-233-16,3-7 27 0</inkml:trace>
  <inkml:trace contextRef="#ctx0" brushRef="#br0" timeOffset="140621.86">32777 9433 61 0,'-11'5'340'0,"2"3"-64"0,-1-1-53 0,4-2-39 16,-1 5 18-16,1-2 16 0,1 2-55 15,1 0-2-15,0 1-12 0,4-1 28 0,0 0-43 0,5 0 18 16,2 2-27-16,0 0 26 0,2-3-30 16,3 1 23-16,-1-2-39 0,3 1 22 0,0-3-19 0,2-2 8 15,0 1-24-15,1-2 1 0,1-2-28 0,-2-2 9 16,0 0-30-16,2-4 11 0,-2 1-21 0,-2-2 11 15,-1-2-22-15,0 0 9 0,-2-2-14 0,0 0 6 16,-2-1-15-16,-1 3-10 0,-2-1-91 0,-1 0-44 16,-3 2-78-16,-2 7-7 0,0-10-77 0,0 10-45 15,-7-3-98-15,7 3-290 0,-14 1-236 0</inkml:trace>
  <inkml:trace contextRef="#ctx0" brushRef="#br0" timeOffset="141890.93">32764 9881 219 0,'0'0'489'0,"0"0"-115"0,-2-8-22 0,2 8-65 15,0 0-61-15,0 0-53 0,0 0-47 0,0 0-21 16,0 0-28-16,0 0-20 0,0 0-10 0,0 0-6 0,0 12-4 16,-1-5-7-16,1 1-10 0,-1 2-26 0,1 2 33 15,0 0-34-15,0 1 35 0,-2 2-36 0,2 0 43 16,-1 2-72-16,0 0-73 0,-3 1-131 0,2-1-503 16,-1-3-252-16</inkml:trace>
  <inkml:trace contextRef="#ctx0" brushRef="#br0" timeOffset="143019.65">32706 10375 338 0,'0'0'357'0,"-5"-3"-38"0,5 3-75 0,-6-4-31 15,6 4-70-15,-9-2-7 0,9 2-51 0,-12-1 4 16,12 1-36-16,-13 3 22 0,5 1-11 0,-1 1 18 16,1 1-40-16,-2 1 43 0,3 0-35 0,-2 3 26 15,3 0-45-15,-2 2 29 0,5-2-11 0,1 1 6 16,0 1 3-16,2 1-10 0,1-2 0 0,2 3-4 16,0-4-2-16,2 4 19 0,3-3 11 0,1-1-5 15,1 1 5-15,0-3 10 0,1-1 9 0,1 0-12 16,-1-4 6-16,2-1-8 0,-1 0-3 0,1-4 3 15,1 0-4-15,-1-1-20 0,0-4 4 16,1-2-25-16,-3-1 3 0,2-4-15 0,-5 0 7 0,1-3-17 16,-3 2 8-16,-1-1-12 0,-4 0 3 0,-1 2-8 15,-5-2 2-15,0 1-51 0,-5 1-59 0,-5 1-73 16,-1 1-20-16,-3 3-107 0,0 2-120 16,-3 2-453-16,-1 3-437 0</inkml:trace>
  <inkml:trace contextRef="#ctx0" brushRef="#br0" timeOffset="148000.24">31029 7292 119 0,'0'0'151'0,"-6"-7"-30"16,6 7-3-16,-5-7-13 0,5 7-24 0,-8-6-20 16,4 2-11-16,4 4-13 0,-12-7-4 0,4 4 11 15,0 0 7-15,-1 0-11 0,1 0-8 0,-2 0-3 16,10 3-10-16,-14-4-4 0,4 2-2 0,10 2 0 0,-20-2-7 15,20 2-1-15,-22 0 3 0,22 0 4 16,-24 0-2-16,11 1-4 0,0-1-3 0,-1 1 9 16,-2 2-4-16,-1-1 2 0,0 0-7 0,1 2 7 15,-1 0-5-15,0-1 0 0,0 2 3 0,-3 0 4 16,2 1-12-16,-1-1 3 0,-1 2-4 0,1 0 2 0,0 2 2 16,1-1 0-16,-2-1-3 0,1 1 5 0,3 2-6 15,-3 1 4-15,-1-1 0 0,1 1 0 16,-1-1 1-16,-2 3 1 0,-1 3-1 0,0-3-2 15,0 1 2-15,1 1-1 0,-1 1-1 0,0-1 1 0,0 2-19 16,0-2 25-16,2 1-1 0,-2 1 0 16,-2 0 6-16,3 1-12 0,-1 0 2 0,1 0 7 0,0 0-8 15,1 1-1-15,0 1 2 0,1 2-1 16,-3 4 2-16,3 1 0 0,1 0 2 0,0 1 5 16,0 2-4-16,3 0-2 0,2-2 0 0,1-1 2 0,2 3-1 15,-1-2-2-15,5 2 6 0,-1-1-3 0,0 1 2 16,3-1-26-16,1-3 32 0,2 0-28 15,2 0 36-15,-2 0-32 0,1-1 33 0,4 2-32 16,-3-3 25-16,2 1-2 0,0 0 0 0,0 1-4 16,0-1 4-16,1 1-7 0,1-1-1 0,-1 1-1 15,-1 1 1-15,1-2-1 0,-1 1-2 0,0 0-1 0,0-1 4 16,1 0-2-16,-2-1-1 0,2 0-1 0,-1 0 3 16,-2 0-3-16,3-1 3 0,-1 0-2 0,-2 0 3 15,3-2 16-15,-1 0 29 0,0 0-31 16,-2 0 22-16,1-1-33 0,1 0 22 0,0 2-24 15,0 2 16-15,0-1-25 0,0-1 26 0,1 0-31 0,-1 1 26 16,0 1-28-16,0 0 31 0,1 0-2 0,-1 0 29 16,3 1-30-16,-2-1 19 0,1 2-11 0,1 0-3 15,1 1-3-15,-2 2-3 0,5 1-5 16,-3-3-3-16,1 1-2 0,-1-1 0 0,2-3 0 16,-3 0-5-16,1 0 2 0,-1-1 2 0,1-3 0 15,-1 2 1-15,0 0-24 0,-3-2 27 0,3-2-23 16,-1-1 25-16,-1-1-22 0,-1 2 20 0,2-2-22 15,-1 2 21-15,-2-2-19 0,5 1 24 0,-3-2-15 16,-1 1 8-16,2 1-13 0,0-2 22 0,1 2-24 0,-2-1 21 16,1 0-20-16,0-1 18 0,1 1-19 0,0-1 19 15,1 2-21-15,-1-2 24 0,0 1-25 0,4 0 18 16,-2 1-15-16,0-1 13 0,1 2-15 0,2 0 20 16,-1 0-5-16,-1 0 0 0,0 2-2 0,2-1-2 15,-4 0 0-15,3 0-4 0,1 0 2 0,1 1 3 16,-2-1-1-16,1 0-3 0,0 0-4 0,0 0 1 15,2-1-8-15,-1 0 7 0,-1 0 0 16,4 0-4-16,-1 0 9 0,1-1-4 0,-2 1-20 0,4-2 23 16,-3 0-21-16,3 0 29 0,1 2-27 0,1-3 28 15,0 1-25-15,-1-1 26 0,1 2-19 0,2-2 19 16,2 1-24-16,0-1 26 0,1 0-25 0,0 1 25 16,2-2-20-16,1-1 14 0,-2 1-14 0,4 0 15 15,2 0-21-15,0-2 20 0,0 1-22 0,4 2 22 16,-4-4-18-16,0 1 19 0,1 0-2 0,-2-2 0 0,2 2-3 15,-2-2-5-15,2 1 5 0,-2-2-8 16,-1 1 5-16,2-1-1 0,-1 0 2 0,-1-2-3 16,-1 3-1-16,-1-4 3 0,-2 2-2 0,0-2 0 15,1 0 1-15,0 2 1 0,-2-3-1 0,0 0 1 0,0 1-2 16,1 0 2-16,-2-2-3 0,1 0-1 0,0 2 9 16,0-2-9-16,-2 0 4 0,-1-1-2 0,-1 1 1 15,2 1-1-15,-1-2 0 0,-1 1 2 0,-1-2 0 16,1 3-25-16,-2-1 32 0,2 1-27 0,-3-2 29 15,1 2-25-15,1 1 28 0,0-1-26 0,-1-1 26 16,0 1-26-16,0 2 26 0,1-3-22 0,0 1 22 16,1 1-19-16,1 0 18 0,1 0-23 0,0 0 28 0,-1 0-28 15,1-1 30-15,-4 1-36 0,1-1 36 16,0-1-34-16,0 1 29 0,0 1-27 0,-1-1 24 16,0 0-17-16,1-2 23 0,0 4-26 0,1-3 24 0,-2 1-27 15,1-2 27-15,-1 3-26 0,-1-2 30 16,3 0-31-16,-2-2 26 0,1 2-25 0,-1-2 25 0,2 1-28 15,-1-1 28-15,1-1-37 0,0 0 33 0,0-1-21 16,0 2 27-16,3-2-29 0,-3 0 33 0,2-2-39 16,-1 2 35-16,-1-1-25 0,2 0 19 0,0 0-28 15,-1 0 23-15,1-2-29 0,0 1 18 0,-1-1-27 16,1 2 29-16,-1-1-26 0,-1-1 21 0,2 1-16 0,-1-1 24 16,-1-1-17-16,4 0-2 0,-2 1 2 0,1-2 8 15,-1 0-2-15,3 0 3 0,-2 0 6 16,3 1-12-16,-1-4 16 0,0 4-5 0,0-2-1 0,-1-2 8 15,3 4-15-15,-2-3 20 0,0 0-26 0,1 1-9 16,-2-1-4-16,0 1-16 0,1 0 14 0,-1 2 4 16,-1-4 5-16,-2 2 2 0,3 0 4 0,-4-2 3 15,3 1 3-15,-2-1 2 0,1-1 3 0,-2-1 5 16,3 1-8-16,-3-4 5 0,2 3-2 0,0-5 6 16,1 1-2-16,0-1-16 0,1 1 18 0,0-1 4 15,-3-1-29-15,3-2-2 0,0 1-18 0,-1-1 2 0,0 0-8 16,2 0 5-16,3-4 10 0,1 2 8 15,0-3 3-15,0 1 8 0,-4 1-36 0,3-2 48 16,-4 4-36-16,-1-1 48 0,-3 0-27 0,-7 0 68 0,-12 1-37 16,0-1 40-16,0-1-40 0,0-1 59 0,0-4-4 15,0 3-15-15,0-3 16 0,0-2-16 0,0 0 2 16,0 3-9-16,0-3 0 0,0 3 0 0,0-1 9 16,0 0-25-16,0-1 9 0,0 1-18 0,0-3 14 15,0-1-31-15,0 3 22 0,0-5-22 0,0 5-2 16,0-3-1-16,0 2 0 0,0 3 0 0,0-1 1 15,0 0-2-15,0 2 4 0,0-1-2 0,0 4-1 16,0-4-3-16,0 4 5 0,0-3-8 0,0 1 15 0,0 1-5 16,0-1 8-16,0 1-3 0,0-1-1 0,0 0-2 15,0 0-3-15,0 2 6 0,0-1 3 0,0-1-2 16,0 0-2-16,0 2-6 0,0-1 29 0,0 3-28 16,0-3 18-16,0 1-21 0,0 3 25 0,0-2-31 15,0 2 23-15,0-3-21 0,0 3 12 0,0 0-18 16,0 0 1-16,0-2 4 0,0 1-4 0,0-2 5 15,0 0 0-15,0 1-6 0,0 0 10 0,0-3 6 16,0 1 4-16,0-2 8 0,0 1-7 0,0 0 4 16,0 2 9-16,0-1-1 0,0-1-8 0,0-2-19 15,0 5 28-15,0 0-3 0,0 1 48 0,0-1-3 16,0 1-14-16,0 1-7 0,0 0-12 0,0 0-7 0,0 0 29 16,0 0-47-16,0 0 37 0,0 0-44 0,0 0 29 15,0 1-35-15,0-1 32 0,0 0-42 0,0 1 45 16,0-3-42-16,0 1 33 0,0 1-37 0,0-2 31 15,0 2-26-15,0 0 28 0,0 0-34 0,0 0 3 16,0 2-3-16,0-1 14 0,0 0-6 0,0 1 6 16,0 0 3-16,0 2-5 0,0-1 4 15,0 2 2-15,0 1 0 0,0 0-1 0,0 0 5 0,0 0-4 16,0 1 0-16,0-1-4 0,0 1 8 0,0 1-6 16,0-2-7-16,0 1 8 0,0 0 3 0,0 1-2 0,0-3-2 15,0 1-4-15,0 1 6 0,0-2 1 16,0 1 1-16,0 0 1 0,0 0-8 0,0 0 5 15,0 0 7-15,0-1-3 0,0 2-11 0,0-3 8 0,0 2-3 16,0-1 3-16,0 1 5 0,0-1-4 0,0 2 0 16,0-1 0-16,0 1-1 0,0 0-2 0,0 1 4 15,0-1-10-15,0 2 8 0,0-1 4 0,0 0-5 16,0 1 7-16,0-1-10 0,-16-1 1 0,3 2 4 16,0 0-2-16,0-2 6 0,-1 3-3 0,2-2-5 0,-1 1 8 15,-1-1-19-15,3 2 22 0,-6-4 17 0,4 3-23 16,-2-3 21-16,1 0-29 0,-3 3 30 0,3-3-32 15,-4 1 26-15,4-1-30 0,-3 1 33 0,-2-1-34 16,2 0 3-16,0 2-7 0,-1-1 5 0,-2-2 11 16,2 3-4-16,-3-2 4 0,2 0 4 0,0 2-13 15,-1-2 9-15,0 3-2 0,0-3-4 0,-2 2 8 16,3-2-5-16,-3 1 3 0,-2 1 5 0,1-2-2 16,3 4-10-16,-6-4 9 0,-1 2-4 0,0-1-2 15,1 0 5-15,-3 1-3 0,3-1 5 0,1 2 0 16,-2-2-3-16,-1 2 5 0,1-2-6 0,1 0 0 15,0 0-1-15,4 3 5 0,-5-3 5 0,5 1-14 16,-1 2 8-16,2-1 0 0,-1 1-4 0,1 0 3 0,-1-1 0 16,1 2-3-16,2 0-3 0,-2 0 7 0,1 1 1 15,0-1-5-15,-2 3 3 0,4-1 2 0,-1 2-2 16,0-1 0-16,-1 0 21 0,0 2-27 0,4-2 9 16,2 3-13-16,0 0 25 0,-2 0-23 0,2 0 24 15,-2-1-30-15,0 2 28 0,1 0-18 0,0 0 2 16,-4 0-3-16,2 2 25 0,-1-1-32 0,0 0 32 15,0-1-28-15,-3 1 22 0,1 0-23 0,-1 2 6 16,0-2-1-16,-1 0 22 0,-1 1-27 0,-1-1 26 16,-1 2-20-16,3-2 17 0,-5 1-20 0,1-1 21 15,1 0-18-15,-1 0 12 0,0-1-15 0,2 1 23 0,0 0-27 16,0-1 9-16,1 2-5 0,-1-2 7 0,2 1-7 16,-2-1 14-16,-3 1-17 0,1-1 28 0,2 1-29 15,-2-1 26-15,-1 1-25 0,-1-1 24 0,0 1-22 16,0-1 19-16,0 2-23 0,0 0 21 0,-1-2-21 15,0 2 23-15,1-1-22 0,1 0 25 0,-1 0-28 16,-1 0 22-16,1 0-18 0,0 1 19 0,0-1-18 16,-1 0 19-16,1 1-15 0,0-1 18 0,0 1-23 15,0 0 21-15,1 1-16 0,0-2 15 0,-1 0-20 16,3 0 22-16,-1 2-21 0,1-2 17 0,2 0-19 16,-2 0 20-16,2 0-21 0,2 0 23 0,0 1-31 15,-1-1 35-15,1 2-23 0,-1-2 21 0,1 0-4 0,0 0-22 16,-2 0 26-16,2 0-24 0,0-1 21 15,0 2-26-15,2-1 16 0,-3 0-8 0,3 0 27 16,0 0-27-16,0 0 19 0,1 1-30 0,1 0 5 16,1-1-40-16,2 1-14 0,2 0-33 0,-1 0 3 15,0 1-23-15,3-1-22 0,-1 2-45 0,0 1-39 0,3-2-181 16,-1 1 129-16</inkml:trace>
  <inkml:trace contextRef="#ctx0" brushRef="#br0" timeOffset="178699.63">11374 6986 165 0,'-4'-11'169'16,"0"0"-9"-16,3 3-75 0,-2 1 0 0,1 1-95 15,2 6-1-15,-4-11-94 0,4 11-64 0,-4-10 44 16</inkml:trace>
  <inkml:trace contextRef="#ctx0" brushRef="#br0" timeOffset="179698.63">10372 6831 335 0,'-8'6'310'0,"2"-1"-38"0,1-1-67 16,5-4-8-16,-7 4-42 0,7-4 32 0,0 0-54 16,8 4-5-16,-8-4-17 0,20-1-15 0,-6-2-27 15,6 1-1-15,0-2-13 0,3 0-7 0,1-1-6 16,3-1-4-16,-1 1-2 0,-1-2-13 0,0 1-3 16,0 1 10-16,-2-1-23 0,-1 1 16 0,-4 0-24 15,0 1 17-15,-4 1-17 0,0 1 20 0,-4-2 3 16,0 2 10-16,2 1 9 0,-12 1-4 0,14-3-3 15,-14 3 2-15,14-1 1 0,-14 1 10 0,10 2 19 16,-10-2 11-16,8 6-14 0,-3 0 34 0,-3 2 9 16,2 0-8-16,0 2 15 0,0 2 5 0,0 3-2 15,0 1-12-15,-2 1 16 0,6 2-16 0,-5 1-27 0,3 2-2 16,-2 0-24-16,-2 2 1 0,2-2-19 0,1 1 7 16,-1 1-21-16,2-1 14 0,-2 0-6 0,1-1-4 15,-1 1 3-15,1 0-64 0,-2-1-53 0,-1-4-43 16,2 0-42-16,-1 0-56 0,-1-4-65 0,1 1-33 15,-2-2-88-15,-1-4-60 0,0 1-270 0,0-10-254 16</inkml:trace>
  <inkml:trace contextRef="#ctx0" brushRef="#br0" timeOffset="179873.61">10658 7186 402 0,'-10'-4'573'0,"-2"0"-102"0,5-2-39 0,-1 1-92 16,4 1-59-16,2-4-62 0,2 8-26 0,2-13-49 15,5 3-8-15,4 2-38 0,3-3-5 0,3 1-29 16,3 0-1-16,2 0-29 0,0 1-18 0,5-2-60 16,-5 4-18-16,4-2-34 0,-2 2-70 0,1 0-19 15,0-2-100-15,-2 3-10 0,3-1-86 0,-3-2-264 16,-1 2-154-16</inkml:trace>
  <inkml:trace contextRef="#ctx0" brushRef="#br0" timeOffset="180261.62">11163 6874 397 0,'9'-6'355'0,"-3"3"-52"0,2-2-35 15,0 1-29-15,2 1-11 0,0 2-33 0,4-1-12 0,-2 2-12 16,2 0-28-16,0 3-29 0,1 0-18 0,2 3-19 16,-3-1-11-16,1 2-20 0,-1 3 3 0,0-2-25 15,-2 3 8-15,-3 1-18 0,-2 0 19 0,-2 1-12 16,-1-1 6-16,-6 0-13 0,-1 3 12 0,-3-1-25 16,-4-1 23-16,-1 2-24 0,-3-2 17 0,3-5-16 15,-2 2 16-15,-1-4-18 0,0 0 11 0,1-2-12 16,0-2 13-16,2-2-16 0,-2-1 12 0,3-3-31 15,1-2 16-15,0-1-8 0,1-2 11 0,4 0-19 16,0-2 11-16,3-1-3 0,1-3-1 0,3-2-9 16,3-2 9-16,-1-2-1 0,3-1-2 0,3-4-3 15,1 1 7-15,2-1-3 0,-1 0 11 0,2 1-7 16,-3-1-1-16,-1 3 8 0,1 3 2 0,-5 0 15 16,0 5 29-16,-1 1-22 0,-2 1 15 0,-3 2-19 0,-2 4 8 15,0 1 5-15,-4 1 21 0,5 5-18 16,-16-3 15-16,5 4-15 0,-1 1 16 0,-2 3-26 15,-1 1 11-15,2 0-20 0,-1 2 16 0,1 1-25 16,2 0 20-16,0 1-3 0,4 1-1 0,-1 0-1 0,2 0 2 16,3-1-6-16,3 1-6 0,2 0-38 15,0-1-10-15,8-1-55 0,0 0-62 0,3-2-59 16,5-1-49-16,1-4-99 0,3 1-338 0,1-3-209 0</inkml:trace>
  <inkml:trace contextRef="#ctx0" brushRef="#br0" timeOffset="180423.67">11785 6562 539 0,'13'-8'494'16,"-3"2"-111"-16,-1 1-85 0,0 1-33 0,-9 4 15 16,13-2-14-16,-13 2-54 0,9 6 14 0,-9-6-31 15,6 9-29-15,-4-1-31 0,-2-1-17 0,1 3-26 16,-1 1-13-16,1 0-13 0,-2 1-5 0,1 2-13 16,0 0-2-16,-1 1-6 0,-1 2-57 0,2 0-77 15,-4 1-71-15,2-1-95 0,-3 3-117 0,-3-2-85 16,2 0-369-16,-3 0-371 0</inkml:trace>
  <inkml:trace contextRef="#ctx0" brushRef="#br0" timeOffset="180549.68">11670 6784 112 0,'0'-7'480'16,"0"7"-165"-16,-1-11-41 0,1 11-91 0,3-10-73 0,-1 4-170 15,5-1-124-15,-1 3-208 0,4-1 155 0</inkml:trace>
  <inkml:trace contextRef="#ctx0" brushRef="#br0" timeOffset="180633.67">11980 6765 238 0,'7'3'404'0,"2"0"-36"0,-9-3-90 15,10 4-66-15,-10-4-17 0,8 3-56 16,-8-3-131-16,6 5-187 0,-6-5-341 0,0 0-22 0</inkml:trace>
  <inkml:trace contextRef="#ctx0" brushRef="#br0" timeOffset="183091.96">10916 7870 424 0,'0'0'385'15,"8"-7"-70"-15,-8 7-39 0,9-2-34 16,-9 2-43-16,13 2-4 0,-5 1-21 0,3 3-32 16,-2-1-21-16,2 3-13 0,2 2-11 0,-3-1-15 0,2 2-15 15,-1 3 10-15,1 0-8 0,-5-1-17 16,1 1-4-16,-1 1-9 0,-2-1-5 0,0 1-8 0,-3-1-2 15,-1-1 1-15,-2-1-10 0,0 1 4 0,-4-1-1 16,1-1-5-16,-2 1-25 0,-1-3 30 0,-2 0-21 16,-1-3 21-16,1 0 2 0,0-1-5 0,-2-3-3 15,0 0-1-15,1-2-1 0,-2 0-2 16,1-2 0-16,1-1 2 0,-1-3-4 0,0-2 6 0,2 0 10 16,-1-3-3-16,4-1-4 0,-2 0-4 0,4-2-1 15,-1-3-4-15,3 0-2 0,-2-1-1 0,3-1 5 16,1 0 17-16,0-2 4 0,0 1 10 0,1-2-11 15,-2 2-4-15,1-1-3 0,0-1-3 0,0 1-16 16,-2 2 34-16,0 1-7 0,-1 0 18 0,0 3-9 16,-2 1 8-16,0 1-22 0,-4 3 7 0,0 0 3 0,-1 4 11 15,-3 1-18-15,2 2 7 0,-1 2-14 16,0 1 3-16,-1 3-1 0,-2 2 4 0,2-1 0 16,-1 2-7-16,2 2-1 0,3-1-8 0,-1 3 4 15,1-1-3-15,5 0-3 0,-1 0 2 0,2 1-1 0,3-1 1 16,3 0-37-16,1 0-19 0,1 1-26 0,4-1-39 15,1 1-20-15,2-1-39 0,2-1-42 16,-1 0-47-16,-1-1-38 0,4 1-13 0,-2-2-92 0,1-3-323 16,-2 1-232-16</inkml:trace>
  <inkml:trace contextRef="#ctx0" brushRef="#br0" timeOffset="183549.41">11065 7756 500 0,'10'-13'397'0,"0"0"-18"0,0 0-84 0,5 1-1 15,2-1-78-15,0 2 5 0,2 1-79 0,0 1-3 16,4 3-54-16,-1 1 12 0,-3 3-37 0,4 2 4 16,-1 2-7-16,1 0-11 0,0 6-9 0,-3 0-7 15,1 1-6-15,-2 3-2 0,-3 3 0 0,-4 0-5 16,-2 0 0-16,-5 0-4 0,0 1-3 0,-4 1-26 16,-2-4 32-16,-1 3-1 0,-3-2 13 0,-2 0 30 15,1 0 19-15,-2-3 14 0,-2 1 14 0,2-4 35 16,2-1 12-16,-2-1-4 0,2-1-11 0,0-1-21 0,6-4-16 15,-9 6-22-15,9-6-14 0,0 0-13 16,0 0-13-16,0 0-6 0,0 0-6 0,0 0-7 16,10-7-23-16,1 4 23 0,-2-2-7 0,5 2-38 0,2-2-62 15,-1-1-39-15,3 1-35 0,0-1-35 16,0-1-13-16,2-1-18 0,2 0-32 0,-3 0-25 0,3-1-10 16,-2-2 16-16,1 1-14 0,-2-2 4 0,0-4 20 15,0 2 28-15,0-4 44 0,-6 2 47 0,2-2 102 16,-6-1 63-16,4 1 66 0,-2-1 63 0,0 0 28 15,-1-1 28-15,0 3 42 0,-1 1 51 0,-2 3 3 16,-1-1-42-16,2 6-51 0,-3-2-48 0,-1 3-33 16,-4 7-26-16,6-6 21 0,-6 6-2 0,0 0-15 15,9 8 3-15,-9-2-30 0,4 5 5 0,-2-1-31 16,-2 3 5-16,1 2-18 0,1 1 8 0,-1 1-16 16,-1 1-11-16,0-1-73 0,0 2-61 0,-1 1-65 15,-2-2-82-15,2 0-101 0,-4 0-122 0,2-3-342 16,0-1-371-16</inkml:trace>
  <inkml:trace contextRef="#ctx0" brushRef="#br0" timeOffset="183682.41">11715 7686 145 0,'-4'-9'665'0,"-1"2"-192"16,1 0-65-16,0 1-61 0,2 1-39 0,2 5-95 0,-5-11-23 15,5 11-94-15,-5-8-86 0,5 8-138 0,1-8-98 16,-1 8-157-16,9-8-286 0,-3 5-179 0</inkml:trace>
  <inkml:trace contextRef="#ctx0" brushRef="#br0" timeOffset="183799.49">12019 7617 319 0,'18'4'573'0,"-4"-2"-116"0,0 1-28 0,-1-1-37 16,0-1-64-16,-3 2-51 0,0-2-54 0,-10-1-47 16,15 1-32-16,-15-1-28 0,15 2-101 0,-15-2-91 15,12 2-138-15,-12-2-106 0,8 5-572 0,-8-5-454 16</inkml:trace>
  <inkml:trace contextRef="#ctx0" brushRef="#br0" timeOffset="183986.49">11450 8273 542 0,'-20'15'705'0,"7"-3"-87"0,-1-1-68 15,5-1-76-15,3-5-49 0,6-5-36 16,-5 8-56-16,5-8-52 0,0 0-48 0,19-2-50 0,-4-2-35 15,7 0-21-15,2-3-30 0,6 0-25 0,2-3-81 16,0 2-91-16,1-3-64 0,-1 1-84 0,0 0-64 16,0 0-138-16,-3-1-110 0,-1 0-479 0,-1 1-655 15</inkml:trace>
  <inkml:trace contextRef="#ctx0" brushRef="#br0" timeOffset="184298.49">10966 8672 796 0,'-22'13'641'0,"7"-3"-97"16,0-2-62-16,3-3-77 0,6 0-56 0,6-5-61 0,0 0 5 15,0 0-22-15,18-6-58 0,5-1-22 16,9-5-52-16,14-2-11 0,14-6-34 0,6-2 0 15,7-1-33-15,6-4 16 0,2 0-2 0,15-7-10 0,3 3-11 16,-17 2-26-16,18-3 29 0,-21 4-12 0,0 2-3 16,-2 0-14-16,-4 1-1 0,-6 0-4 0,-4 4-4 15,-5 0-28-15,-15 4 29 0,-3 4-30 16,-11 1 29-16,-1 1-29 0,-6 4 33 0,-2 0-5 0,-7 0-10 16,-4 2-24-16,-9 5-66 0,10-5-41 0,-10 5-64 15,0 0-87-15,-12-2-31 0,1 3-74 0,-1 1-132 16,-4-1-654-16,-3 2-780 0</inkml:trace>
  <inkml:trace contextRef="#ctx0" brushRef="#br0" timeOffset="184867.53">10994 7293 228 0,'-31'10'167'16,"0"1"-6"-16,-7 0-62 0,-2 2 15 0,3 0-50 15,-2-3 27-15,6 0-36 0,0 0 44 0,1-2-42 16,1-1 41-16,4 0-36 0,3-3 42 0,1 0-18 15,5-1 8-15,2 1-1 0,0 1-16 0,2-3-23 16,4 1-16-16,1 0-7 0,-1 2-15 0,2 2 1 16,2 2-1-16,2 2 8 0,1 3 32 0,3 4-25 0,4 6 30 15,1 4 16-15,4 11 24 0,4 6-5 16,0 1-3-16,4 10 5 0,2 5 23 0,-2-1-6 16,1 0-16-16,3-2 10 0,-1 1-13 0,-2 0 21 15,1-1-27-15,0-2 9 0,-2 1 1 0,1-2-1 0,-5-8-9 16,1-2-7-16,-1 0-10 0,-2-2-14 0,0-3-8 15,0-2-6-15,-1-2-8 0,0-6-16 0,-1-2 11 16,0-3-17-16,1-4 11 0,-1-2-8 0,2-4-20 16,-1-4-86-16,1-3-42 0,-2-2-121 0,0-3-51 15,-9-3-101-15,18-4-530 0,-8-5-510 0</inkml:trace>
  <inkml:trace contextRef="#ctx0" brushRef="#br0" timeOffset="185362.57">10686 7654 124 0,'3'-16'384'0,"6"-2"-87"0,6-4-48 16,8-3-35-16,4-2-16 0,6 2-62 0,12-6 5 15,5 1-45-15,5-1 17 0,5 2-39 0,2 0 7 16,6 1-34-16,0 2 13 0,1 1-26 0,0 1 11 15,0 1-34-15,-2 0 21 0,1 3-27 0,-4 1 26 0,-1 1-25 16,-2 0 6-16,-2 0-23 0,-12 3 25 16,0 1-23-16,-3 2 23 0,-1-1-28 0,-4 1 30 0,-7 2-26 15,-3 0 34-15,-6 3 9 0,-2 2 35 16,-4-2 16-16,0 4 15 0,-3-2-11 0,-2 3 23 0,-1-1-20 16,-2-1 1-16,0 2-37 0,-9 2 15 0,14-3-38 15,-14 3 3-15,14-2-18 0,-14 2 10 0,17 3 9 16,-8 1 38-16,2 4-25 0,5 0 13 0,0 4-20 15,5 5 12-15,-1 2-24 0,5 3 8 0,0 2-16 16,2 2 9-16,0 2-12 0,1 1 9 0,-2 0-2 16,3 3-4-16,-1 0-1 0,-2-1-1 0,0 2-18 15,-3 0 15-15,0 0-7 0,-1 0 8 0,-7 0-13 16,0 0 14-16,-7-3-5 0,-1-2 0 0,-5-1 10 16,-4 0 8-16,-4 3 10 0,-4-1 15 0,-5 5 18 15,-2-4-3-15,-7-1 17 0,-2 2 13 0,-3-4-13 16,-3 2-2-16,-1-3-5 0,-3 0-20 0,-1-1-7 15,-4-3-27-15,2 2 15 0,-4-4-16 0,0 2 5 0,-2-3-15 16,2-1-40-16,-1-1-63 0,3-2-65 16,-2-1-48-16,5 0-97 0,3-3-49 0,6-2-106 15,-2-1-109-15,7-4-349 0,1 1-474 0</inkml:trace>
  <inkml:trace contextRef="#ctx0" brushRef="#br0" timeOffset="185901.54">10029 6740 113 0,'0'0'437'15,"-10"-6"-169"-15,10 6-40 0,0 0-76 16,0 0 11-16,-6 7-46 0,7 2 19 0,4 5 26 0,-1 6 3 15,6 5-21-15,-1 4-15 0,5 8-15 0,0 4 21 16,3 0-25-16,-1 0-17 0,2 2-9 0,2 0-42 16,0-2 23-16,0 0-13 0,0-1-7 0,0-2-1 15,-2-2-10-15,1 0 1 0,0-2-23 16,-3-3 24-16,-2-5-74 0,-3-3-33 0,-1-3-108 0,-1-2-54 16,0-3-82-16,-4-3-409 0,-1-4-230 0</inkml:trace>
  <inkml:trace contextRef="#ctx0" brushRef="#br0" timeOffset="186385.19">10071 6916 488 0,'-6'-14'450'0,"2"1"-82"0,3 2-60 16,0-2-47-16,3 0-34 0,2-3-29 0,8-2-28 15,4-4-29-15,12-2-32 0,4 0-5 16,12-7-32-16,7 3 0 0,6 0-27 0,2 0 7 0,6 1-22 15,2 1 6-15,-1 0-21 0,5 0 14 0,1 2-19 16,-1 1 16-16,2-1-24 0,-1 2 13 0,1 1-13 16,-2 2 19-16,-1 0-20 0,-4 1 12 0,-1 1-15 15,-2 2 18-15,-13 2-23 0,0 0 18 0,-3 0-21 16,-5 3 21-16,-3-1-18 0,-7 2 13 0,-7 4-12 16,-2-2 11-16,-5 3-5 0,0-1 36 0,-4 1-7 15,0 0 18-15,-4 2-26 0,3 0 9 0,-3-1-27 0,-1 1 20 16,-9 2-20-16,21 0 37 0,-11 1-16 15,2 3 10-15,3 0-15 0,1 3 1 0,2 3-7 16,5 5 16-16,0-1-18 0,0 5 12 0,4 4-23 16,1 1 21-16,2 2-14 0,-2 0 17 0,1 0-17 0,-1 3 12 15,-1-1-11-15,-2 0 11 0,2 1-8 16,-5 0 12-16,0-1-11 0,-2 0 11 0,-4-3 2 16,-2 1 7-16,-3 0 21 0,-2 0 6 0,-5-4 1 0,2 2 8 15,-6-4 21-15,-2 3 2 0,-6-1-16 0,-1 3 7 16,-5 1 0-16,-9 1-15 0,-3-1 0 15,-3-1-13-15,-5 0-7 0,-2-3-12 0,-5 2-3 16,-1-4-5-16,-11 3-11 0,1-1 5 0,-2-1-7 0,-2-1 2 16,10-3-6-16,-4-1-60 0,2-1-62 0,0 1-51 15,1-2-59-15,6 0-35 0,0 0-84 0,2-2-67 16,8-2-120-16,2 0-383 0,5-3-479 0</inkml:trace>
  <inkml:trace contextRef="#ctx0" brushRef="#br0" timeOffset="194517.55">12730 7328 201 0,'-3'6'509'15,"3"-6"-83"-15,-5 8-56 0,5-8-42 16,-4 8-43-16,4-8-13 0,-2 6-28 0,2-6-9 0,0 0-16 16,0 0-15-16,3 5-16 0,-3-5-8 0,13-2 0 15,0-1-12-15,1-1-28 0,5-2-16 0,4-1-28 16,0 0-19-16,7-4-10 0,2 1-16 0,0-1-8 15,6-1-10-15,0 2-7 0,-6-1-9 0,0 2 7 16,0 0-11-16,-3 2 3 0,-3 1-5 0,-2-1 0 16,-7 3-49-16,1 0-47 0,-3 1-21 0,-1 0-21 15,-2-1-6-15,-12 4-27 0,19-3 10 0,-19 3-32 16,10-2-47-16,-10 2-37 0,0 0-88 0,0 0-75 16,0 0-363-16,0 0-314 0</inkml:trace>
  <inkml:trace contextRef="#ctx0" brushRef="#br0" timeOffset="199142.83">13894 6777 190 0,'0'11'282'0,"1"-2"-45"16,1 5-48-16,0-1-36 0,1 1 20 0,2 2-40 0,-2 1 4 15,3-2-14-15,0 2 30 0,-1 0-53 0,2-3 5 16,0 1-44-16,0-2 40 0,-1 0 6 0,1-2-28 15,-1 1-10-15,-1-3-7 0,0 0-6 0,-1-1 16 16,0 0 23-16,-2-2 29 0,2-2 33 0,-4-4 21 16,3 10-33-16,-3-10-26 0,0 0-25 0,0 0-15 15,-13-1-22-15,4-3-7 0,-2-4-12 0,-2 0-10 16,-4-6-4-16,-1-3-4 0,-1-3-4 0,-3-6-18 16,2-1 17-16,-2-4-6 0,3-1-7 0,2-3-4 15,1-1-2-15,4-1-13 0,3 5 10 0,5 2-16 16,-2-1 18-16,6 4-19 0,3 2 13 0,2 3-24 15,1 0 35-15,4 4-23 0,4 3 20 0,-1 1-21 16,5 3 24-16,-4 6-16 0,3 1 21 0,-3 3-16 16,1 2 21-16,-1 3-18 0,0 1 18 0,0 5-14 0,-2 1 21 15,-1 3-19-15,-2 3 18 0,0 1-2 0,-6-2 1 16,-1 2-1-16,-2 1 2 0,-1-1-18 16,-1 0 15-16,-2 0-17 0,-2-1 17 0,1-2-3 15,0-1-3-15,-1-1-3 0,2-2 23 0,0-1 37 0,2-1 10 16,-2 0-9-16,1-1 10 0,1-3-22 15,-1 1-1-15,3-6-19 0,-1 10-1 0,1-10-15 0,4 7 6 16,-4-7-14-16,11 7 8 0,-11-7-14 0,18 2 10 16,-6-1-11-16,2 1 13 0,0 0-11 0,2-1 8 15,2 0-77-15,0 0-44 0,-1-1-83 0,2 1 8 16,-1-1-75-16,0-1-22 0,-2 1-49 0,1-1-48 16,-2 0-431-16,1-2-342 0</inkml:trace>
  <inkml:trace contextRef="#ctx0" brushRef="#br0" timeOffset="199641.55">14281 6770 186 0,'3'-7'442'16,"-3"7"-100"-16,0 0-47 0,4-5-34 0,-4 5-24 15,2-8-44-15,-2 8-38 0,4-8-26 0,0 2 16 0,-3 1-29 16,3-2-23-16,1 0-15 0,-3 0-16 16,1-3-13-16,0 3-1 0,-1-2-12 0,-2 0-10 15,2-1-1-15,-2 3-12 0,-2-2 6 0,2 2-13 16,-2-2 3-16,-2 3-12 0,4 6 7 0,-9-9-8 0,9 9 2 15,-14-2-8-15,14 2 14 0,-18 6-4 16,10-1 0-16,-2 4 1 0,0-1-1 0,2 2-1 0,2 0 3 16,-1 2 3-16,2-2-6 0,4 1-27 0,-3-2 36 15,4 2-26-15,3-1 38 0,-1-2-34 0,1 2 36 16,2-2-23-16,0-1 25 0,2 0-35 0,-1-2 37 16,3 0-30-16,-3-1 32 0,3-1-27 0,-9-3 29 15,14 2-46-15,-14-2 12 0,14-2-51 0,-7-1 22 16,0-1-54-16,-2-1 22 0,1-1-14 0,-1-3 1 15,-1 0 10-15,-2 0 33 0,2-1-15 0,0-1 30 16,-2 3-23-16,2-2 34 0,-1 3-23 0,-1 0 27 16,2 1-27-16,1 2 40 0,-5 4-7 0,12-4 35 15,-12 4-4-15,14 2-1 0,-14-2 7 0,16 5 41 16,-7 0-10-16,-1-2 2 0,1 3 5 0,1-2-16 16,0 1-4-16,-1-1-5 0,3 1 11 0,-3-1 17 15,0-1 13-15,1 1 13 0,-2-2 9 0,-8-2 42 16,12 4 24-16,-12-4 8 0,13 1-19 0,-13-1-27 15,9-4-14-15,-9 4-26 0,8-7-22 0,-8 7-11 0,4-12-25 16,-3 4 0-16,-1-1-8 0,0-2-5 16,-1 0-8-16,-2 0-5 0,2-2-27 0,-2 1-44 15,2-1-40-15,-3 2-59 0,3-1-23 0,-2 2-59 0,3 0-49 16,-2 0-72-16,-1 5-78 0,3-1 22 0,0 6-411 16,0-8-359-16</inkml:trace>
  <inkml:trace contextRef="#ctx0" brushRef="#br0" timeOffset="202481.45">14269 7074 39 0,'2'12'352'0,"2"-2"-110"0,-2 1 1 16,1-1-79-16,-2 1 11 0,2-1-45 0,-2 0 19 0,2 1-45 15,-1-2-19-15,-1 1-17 0,2-3-9 16,-3 0 4-16,3 1 11 0,-3-8 3 0,2 10 22 0,-2-10 9 16,1 11 4-16,-1-11 5 0,3 6 4 0,-3-6-20 15,0 0-13-15,4 8-22 0,-4-8-14 0,0 0-9 16,0 0-13-16,11-7-1 0,-11 7-13 0,12-7-2 15,-3 1-4-15,1-2-5 0,0 1-3 0,4-2 1 16,-1 1-2-16,5-2 0 0,-4 1 1 0,5-2-2 16,-2 3 0-16,3-3 0 0,-1 2 3 0,-2-2 1 15,2 3-3-15,-1-1-1 0,1 1 3 0,-6 0-3 16,1 1 5-16,0 2 5 0,-3-3-6 0,0 3 0 16,-2 0 0-16,0-1-2 0,-3 0 29 0,-1 1 4 15,0-1-3-15,-1 0-8 0,-1 0 12 0,-2 0 3 16,-1-1-7-16,-1 0-6 0,0 0 10 0,-1 0 11 0,0 0-2 15,-2-1 15-15,1 2 13 0,3 6-1 0,-2-12 2 16,2 12-13-16,-4-9-15 0,4 9-17 16,-3-8-8-16,3 8-9 0,0 0-3 0,0 0-2 15,0 0-5-15,0 0 5 0,12 3-4 0,-7 2 3 0,0 2-1 16,1 2-1-16,-1-1 1 0,2 2-1 16,-2 0 2-16,0 2-1 0,0-2 2 0,0 4 2 0,-1-2 1 15,-3-1 1-15,1 3-4 0,0-2 3 0,-2 0-3 16,-1 0-59-16,0 0-34 0,-2-3-23 0,2 4-20 15,-2-5-20-15,1 3-36 0,-2-4-40 0,0 1-17 16,2-2-79-16,-2 0-40 0,4-6-329 0,-5 8-199 16</inkml:trace>
  <inkml:trace contextRef="#ctx0" brushRef="#br0" timeOffset="203780.95">15780 6479 31 0,'0'0'43'0,"0"0"-32"0,3 7-42 15,-3-7 12-15</inkml:trace>
  <inkml:trace contextRef="#ctx0" brushRef="#br0" timeOffset="205485.5">15058 6815 334 0,'0'0'457'0,"0"0"-63"0,0 0-66 16,4-8-47-16,-4 8 19 0,15 0-50 0,-4 2-43 15,0 0-31-15,8 2 9 0,-1 3-41 0,5 2-6 16,0 4-28-16,1 0-24 0,1 2-18 0,-3 1-8 0,-1 0-13 15,0 2-6-15,-5 0-6 0,-2 1-8 0,-2-3-5 16,-4 2-4-16,-5-4 2 0,0 3-3 16,-3-2-4-16,0-2 1 0,-4 1-6 0,2-1 1 0,-5 1-1 15,2-2 29-15,-3-3 6 0,2 1 10 0,0-4 0 16,-1 0 7-16,1-2 28 0,6-4 4 16,-12 5-22-16,12-5-11 0,0 0-13 0,-6-6-13 15,6 6-7-15,3-9-4 0,2 3-6 0,2-3-9 0,2 3 5 16,0-4-2-16,5 1 0 0,-2-2-4 0,4 2 4 15,1-2-8-15,1 2-51 0,-3-2-18 0,4 1-36 16,-2-1-35-16,-2 4-23 0,-2-1-35 0,2 1-28 16,-2-1-49-16,0 2-51 0,-4 2-49 0,-1 0-95 15,-2-2-221-15,0 1-197 0</inkml:trace>
  <inkml:trace contextRef="#ctx0" brushRef="#br0" timeOffset="206126.28">15525 6613 244 0,'0'0'163'15,"-7"-4"-2"-15,7 4-19 0,-7-3-59 0,7 3 23 16,0 0-43-16,-12-4 33 0,12 4-45 0,0 0 21 16,-6-4-51-16,6 4 34 0,0 0-28 15,0 0 41-15,0 0-42 0,0 0 30 0,0 0-38 0,0 0 57 16,0 0-43-16,-3 9 36 0,3-9-4 0,0 9 22 16,1-3-25-16,-1 1 26 0,2 3-11 0,-1-2-3 15,-1 3 11-15,3 1 1 0,-1-1-9 0,2 1-50 16,2 0 54-16,-2 1-26 0,3 0 32 0,-1-2-44 15,2 1 33-15,0 0-37 0,0-2 33 0,1-2-1 16,1 1-8-16,-1 0-9 0,-1-2-4 0,0-3-10 16,1 1 13-16,-3 1 17 0,-6-6 11 0,13 4-5 15,-13-4-7-15,11 2-15 0,-11-2-9 0,0 0-25 16,9-3 18-16,-9 3-29 0,4-9 19 0,-4 9-4 16,4-12-7-16,-3 5-9 0,1-3 4 0,-1-1-7 0,0 1-2 15,3-1-1-15,2-1-16 0,-1-1 15 0,3 1-18 16,0 1 16-16,2 0-18 0,-1 1 25 15,0 2-20-15,1 3 13 0,-1 0-19 0,0 3 25 0,-9 2-18 16,19-1 26-16,-7 2-5 0,-3 0 0 16,2 2-3-16,-2 1 1 0,0-1 0 0,2 2-2 15,0-2 7-15,-2 2 23 0,2-2-3 0,-1 1-3 0,1 0 1 16,0-2 4-16,1 0-1 0,0 1-1 0,-1-2 9 16,-11-1 8-16,21 1 10 0,-12-2-2 0,2-1-4 15,0-2-9-15,-2 1-4 0,-1-2-2 0,-1 0-1 16,1-2-4-16,-3 0-7 0,0-2-3 0,-2 0-8 15,-3-2 3-15,-2 1-7 0,1-2-3 0,-5-1-13 16,-1 1 12-16,-3 0-12 0,-3 0-9 0,-2-1-39 16,-2 3-45-16,-3 1-65 0,0 5-16 0,-2-2-24 15,-2 4-83-15,1 2-25 0,-4 2-67 0,2 1-71 16,-9 3-241-16,6 2-198 0</inkml:trace>
  <inkml:trace contextRef="#ctx0" brushRef="#br0" timeOffset="206631.94">15085 6903 24 0,'0'0'388'0,"-14"1"-92"15,14-1-62-15,-12 2-32 0,12-2-33 0,-10 2-32 16,10-2-10-16,-11 5-9 0,11-5-8 0,-9 8-8 15,9-8-12-15,-7 8-9 0,6-2-8 0,1-6 16 16,-2 12-20-16,3-5 15 0,-1 1-11 0,2 0-8 16,2 1 11-16,0-1 17 0,1 1-15 0,3-1-16 15,1 3-5-15,0-3-12 0,1 2-2 0,3-3-11 0,-3 3 5 16,5-2 2-16,-4 0-7 0,0 1-2 16,3 0-7-16,-4-1-5 0,1 1-2 0,0 0-2 15,-2-2-5-15,-1 1 4 0,-1-1-3 0,-2 1 9 0,-1 0 5 16,-1-1-5-16,-2 2 0 0,-2-3 1 0,-2 2-5 15,-1-2-2-15,-1 1-19 0,-4 1 19 0,0-4 2 16,-1 3-2-16,-4-2-6 0,0 0-17 16,-1-3-32-16,-2 1-19 0,3-2-32 0,-1-1-56 0,-4-1-36 15,3-2 1-15,-3 1-69 0,4-4-12 0,-3-2-428 16,0-3-200-16</inkml:trace>
  <inkml:trace contextRef="#ctx0" brushRef="#br0" timeOffset="206797.94">14945 6917 289 0,'0'0'488'0,"0"0"-91"16,12 4-81-16,-12-4-11 0,3 13-38 0,-2-4-41 15,2 1-17-15,-1 1-32 0,2 3-34 0,0 1-24 16,-1-1-26-16,2 2-13 0,3 2-13 0,0 0-32 0,0 0 13 16,2 0-2-16,-2 1-33 0,1-1-64 15,1 0-66-15,0 0-83 0,-1-1-79 0,0 0-109 16,0-4-337-16,-1-1-232 0</inkml:trace>
  <inkml:trace contextRef="#ctx0" brushRef="#br0" timeOffset="208102.15">11737 8315 42 0,'0'0'302'0,"0"0"-60"0,-13 1-72 0,13-1-23 0,0 0-49 15,-12 5-4-15,12-5-30 0,0 0-14 0,-6 7 28 16,6-7 4-16,0 10-13 0,1-3 5 0,1 0 30 15,0 2-41-15,2 1 23 0,2 4-4 0,1 0 28 16,-1 2-36-16,2 2 20 0,1 2-41 0,0-1 44 16,-2 2-55-16,4 0 28 0,0 3-46 0,-2 0 35 15,0-3-36-15,2 0 44 0,0-2-40 0,-2 0 34 16,1-1-17-16,-1-1-2 0,0-4 22 0,0 1-42 16,-3-1 34-16,2-4-5 0,-2 1 48 0,1-3-23 15,0-2 22-15,1 0-34 0,-8-5 19 0,14 1-31 16,-14-1 5-16,22-6-23 0,-8-1 7 0,0-5-10 15,2-2 18-15,2-4-14 0,1-1 7 0,1-2-13 16,0-1 27-16,2-4-6 0,-3 4 9 0,0-1 7 16,-1-1-4-16,-1 1 0 0,-1-1-1 0,-3 1 29 0,1-1-11 15,-5 3-11-15,0 1 3 0,-3 0 21 16,1-1-4-16,-5 3-11 0,0 0-10 0,-4-2 6 16,0 4-19-16,-6-5 1 0,3 6-17 0,-4-3 3 0,1 2-15 15,-2 1 5-15,1 3-23 0,0 0 16 0,-1 1-33 16,2 2 29-16,3 1-15 0,-3 0 1 0,1 1-64 15,3 2-60-15,-2 0-46 0,6 5-56 0,-8-4-30 16,8 4-73-16,0 0-16 0,0 0-76 0,-8 4-67 16,8-4-390-16,4 7-423 0</inkml:trace>
  <inkml:trace contextRef="#ctx0" brushRef="#br0" timeOffset="211805.03">17101 13572 187 0,'-25'9'502'0,"-2"3"-76"0,-5 3-37 15,-3 3-52-15,0 3-58 0,5 3 3 0,-1 0-55 0,3 2-36 16,5 1-17-16,3-4-37 0,6 2-1 0,4-1-29 16,5-3-6-16,4 0-17 0,2 0 9 0,7 1-29 15,3-2 4-15,2 2-19 0,5-3-2 0,1-1-17 16,4-2 8-16,0-2-13 0,3-2 2 0,-6-2-9 16,3-3 3-16,1-2-13 0,-2-4-2 0,-3 0-37 15,3-2-2-15,0-5-14 0,-2-1 20 0,1-3-9 16,-3-3 17-16,2-4-10 0,-1-2 13 0,-1-1 4 15,-1-1 0-15,-3 0 2 0,2 0 49 0,-4 3 43 16,-1 3 51-16,-2 1 39 0,0 2-15 0,-2 2-28 16,0 1-33-16,-3 2-20 0,1 2-20 0,-5 5 14 0,0 0 20 15,0 0 20-15,11 1-26 0,-11-1 0 0,1 12-34 16,-1-3 7-16,1 1-31 0,-1 2 2 0,1 1-7 16,3 2 0-16,-1 2-16 0,-1-2-104 0,1 3-42 15,1-1-81-15,-2-1-89 0,-1 1-58 0,2 0-104 16,-2-4-173-16,1-3-325 0,0 1-563 15</inkml:trace>
  <inkml:trace contextRef="#ctx0" brushRef="#br0" timeOffset="212118.03">17309 13743 292 0,'-7'-11'730'0,"2"2"-109"0,-4 0-54 15,4 2-89-15,-1 0-66 0,-1 0-60 0,2 0-64 16,-1 3-62-16,2-1-45 0,4 5-39 0,-6-8-30 15,6 8-24-15,0 0-14 0,0 0-10 0,0 0-61 16,0 0-80-16,0 0-38 0,1 8-48 0,4-5-31 16,7 0-26-16,-2-1-54 0,3 0 20 0,1 0-7 15,0-4 7-15,4 1 35 0,-3-1 38 0,4-2 29 16,0-1 54-16,-3-1-2 0,0 1 117 0,2-2 53 0,-4 3 63 16,2-2 40-16,-3 2 15 0,-2 1-26 15,-1-1-32-15,0 3-23 0,-10 1 45 0,18 2 25 0,-8 3-19 16,-1 1-18-16,-1 3-24 0,0 2-1 0,1 3-32 15,0 4-4-15,0 0-12 0,1 2-10 16,-1 1-8-16,0 4-9 0,0 0-4 0,-1-2-11 0,0-1-105 16,-3 0-72-16,2 1-46 0,-2-3-58 0,-3-2-116 15,-2 0-68-15,2-3-454 0,-5-1-455 0</inkml:trace>
  <inkml:trace contextRef="#ctx0" brushRef="#br0" timeOffset="212581.95">17533 13960 289 0,'2'-6'485'0,"4"-1"-124"16,-2 0-66-16,5 1-42 0,3-2-13 0,2 0-5 16,1 2-37-16,4-1-41 0,3 0-30 0,-2-1-17 15,5 1-20-15,0 1-18 0,1-1-7 0,3 0-17 16,0-1-6-16,-2 3-8 0,-3-2-5 0,0 0-6 0,-1 3-6 16,-7-2-2-16,2 2-2 0,-4 2-6 15,-1-2-5-15,-3 3 16 0,-10 1 57 0,16 0 39 16,-16 0 9-16,6 6-15 0,-6-6-19 0,1 8-16 0,-1-8-13 15,0 14-13-15,0-7-3 0,0 0-5 0,0 0-8 16,0 1-3-16,2 1-1 0,0 0-4 0,2 0-2 16,1-1-1-16,-1 0-2 0,3-2 0 15,1-1-2-15,1-1 1 0,1-1 1 0,-10-3 0 0,18 1-6 16,-7-3-29-16,1-3-26 0,0-1-4 0,-1-3-15 16,1-1-13-16,-1 1 5 0,2-2 20 0,-4 1 7 15,1 0 5-15,0 1 8 0,-2 2-1 0,0 1-2 16,-2 1 5-16,-6 5 10 0,13-3 48 0,-13 3 21 15,10 4 0-15,-6 3 24 0,0 2 6 16,2 1-12-16,-3 1-10 0,-1 4-10 0,2-2-7 0,-4 3-13 16,0 0 6-16,0 1 2 0,-4-1 25 0,-1 0-12 15,-1-1-4-15,-3 1-8 0,-1 0 2 0,-4-3 0 16,2-4 1-16,-1 1-4 0,-2-4 3 0,1 0-9 16,0-4-2-16,1-1-4 0,-1-2-1 0,3-2-6 15,0-2-7-15,3-3-2 0,0 0 1 0,3 0-3 16,1-3-3-16,1 3-9 0,3-1-49 0,0 2-70 15,0 0-61-15,1 1-65 0,-1 6-79 0,4-7-95 16,-4 7-94-16,0 0-410 0,0 0-503 0</inkml:trace>
  <inkml:trace contextRef="#ctx0" brushRef="#br0" timeOffset="212805.96">17458 14432 847 0,'0'0'767'0,"0"0"-172"0,-16 0-145 15,16 0-82-15,-8 4-46 0,8-4 35 0,-4 8-63 0,2-1-32 16,2 1-63-16,0 3-24 0,0 0-47 0,2 3-9 16,-2 3-35-16,3 1-2 0,1 4-31 0,0-1-47 15,-2 3-97-15,3 1-91 0,-4 0-108 0,2-2-87 16,-3 5-150-16,-3-4-608 0,-2-1-752 0</inkml:trace>
  <inkml:trace contextRef="#ctx0" brushRef="#br0" timeOffset="213882.27">17525 14529 342 0,'0'0'288'15,"0"0"-9"-15,-4 5-25 0,3 4 0 0,-1 0-46 16,1 4 24-16,-2 4-38 0,2 2-1 0,-1 0-17 16,-2 4-19-16,3 0 1 0,-1 0-23 0,1 1 39 15,-1-1-28-15,0-4-16 0,0 0-26 0,-1-2 3 16,2 0-25-16,0-2-12 0,-1-2-14 0,0-2 12 15,-1 0 32-15,2-1 53 0,-1-3 22 0,1 1 53 16,1-8-34-16,-2 10-40 0,2-10-30 0,0 0-26 16,-14-2-19-16,10-2-18 0,-1-4-7 0,1-5-14 15,0-2-26-15,-1-7-19 0,1-3-16 0,3-6-11 16,0-3-7-16,1-2 25 0,1 0-9 0,2 0 3 16,-1 4 2-16,4 1 3 0,-4 7 4 0,0 0-9 15,1 6 11-15,-1 2-7 0,1 4-4 0,-2 0 1 0,3 5 2 16,1 3 7-16,-5 4 2 0,13-1 3 0,-5 5 5 15,1 3 7-15,2 4 0 0,0 1 7 0,2 5-12 16,3 5 6-16,-1 1 10 0,0 2-10 16,2 5 5-16,0 0-34 0,-6-1-106 0,2-3-93 0,-4 4-25 15,-3-3-70-15,-2-2-109 0,-4-1-51 0,0-1-527 16,-4-2-604-16</inkml:trace>
  <inkml:trace contextRef="#ctx0" brushRef="#br0" timeOffset="214012.27">17430 14818 430 0,'4'-14'489'0,"1"0"-122"0,0 0-69 0,5 1-62 0,3 0-43 16,4 0-51-16,-2 1-12 0,4 2-40 0,1 0-17 15,1 5-6-15,2 0-14 0,-2 3-27 0,-1 0-104 16,1 4-73-16,0 0-197 0,-3 1-287 0,3 3-146 16</inkml:trace>
  <inkml:trace contextRef="#ctx0" brushRef="#br0" timeOffset="214303.3">17449 15659 722 0,'0'-8'544'0,"0"8"-121"0,0 0-59 0,0 0 1 16,0 0-7-16,-1 9-48 0,-1-2-31 0,-1 3-36 15,2 1-29-15,0 2-18 0,1 5-47 0,0-1-10 16,0 2-46-16,1 1 4 0,0 3-43 0,-1 1 13 16,3 1-8-16,0 0-10 0,-1-1-57 0,0 2-105 15,-2-4-57-15,0 0-92 0,0-2-62 0,-2-2-77 16,0 0-132-16,-4-3-382 0,2-2-483 0</inkml:trace>
  <inkml:trace contextRef="#ctx0" brushRef="#br0" timeOffset="214482.33">17251 15732 583 0,'4'-13'515'15,"1"0"-116"-15,4 2-40 0,0-3-69 0,4 2-13 16,5-1-71-16,1 1-14 0,4-1-51 15,1 1-8-15,3 0-41 0,0 2-4 0,-3 2-33 0,-2 2 14 16,2 0-32-16,-1 0-15 0,-2 3-93 0,-3-1-72 16,-2 1-54-16,0 1-95 0,-4 1-131 0,0-2-318 15,-12 3-249-15</inkml:trace>
  <inkml:trace contextRef="#ctx0" brushRef="#br0" timeOffset="-214545.4">18339 14580 102 0,'0'0'465'0,"-12"3"-104"0,12-3-103 0,0 0-31 16,0 0-77-16,0 0-15 0,0 0-48 15,11 4-55-15,-11-4-130 0,23 0-84 0,-8 0-301 16,4-1 30-16</inkml:trace>
  <inkml:trace contextRef="#ctx0" brushRef="#br0" timeOffset="-213178">17991 15133 189 0,'0'0'453'0,"-13"-3"-98"16,13 3-12-16,-11-2-72 0,11 2-38 0,-8-2-59 16,8 2-30-16,0 0-32 0,0 0-21 0,4-7-31 15,-4 7 1-15,18-6-19 0,-6 5-3 0,0-1-16 16,6 0 1-16,-1-1-7 0,1 2 8 0,1-1-15 15,0 1 6-15,-2 0-12 0,-2 1 7 0,-2-2-11 16,0 2 5-16,-1 0-12 0,-12 0 10 0,17 0 8 0,-17 0 22 16,17 3 16-16,-17-3-13 0,11 4 7 15,-11-4 32-15,10 7 32 0,-7 0-35 0,-2-1 20 16,3 2 2-16,-3 0 3 0,3 3 0 0,-1 0-4 16,1 2-3-16,-1 4-17 0,2 1-11 0,2 3-1 0,-1 2-20 15,-2 1 2-15,4 4-14 0,-1 1 3 0,1 1-11 16,-3 0 2-16,4-1-15 0,-4 1 14 15,3-2-14-15,-2 1 13 0,-2-5-12 0,1 1 10 0,-1 0-7 16,-1-2 18-16,0-1 26 0,-3-3 13 0,0 0 10 16,-3-2 27-16,0 0-29 0,-1-1 29 0,-3-3-26 15,-1 0 10-15,-2-2-1 0,-2-2 9 0,-1 0-6 16,-2-3-24-16,0-2-5 0,-3 0-13 0,0-1-7 16,1-3-6-16,1-1-7 0,-2-1-6 0,1 0-6 15,0-2-14-15,2 1 11 0,1-2-63 0,0 0-87 16,1-1-81-16,4 0-85 0,-1 1-63 0,1-1-114 15,3-1-106-15,1 1-466 0,0-2-668 0</inkml:trace>
  <inkml:trace contextRef="#ctx0" brushRef="#br0" timeOffset="-199437.89">14322 14260 583 0,'-5'-7'501'15,"-2"0"-63"-15,1 0-104 0,1 3-65 16,5 4-64-16,-8-7-28 0,8 7 24 0,-9 2 7 16,9-2-48-16,-11 9 16 0,7-2-15 0,-1 1-28 15,1 2-23-15,3 1-15 0,-2 1-15 0,3 1-13 16,0 0-10-16,3 4-8 0,-2 0-17 0,4 3 8 16,1 0-15-16,0 3 9 0,0 1-37 0,1-1-84 15,-1 1-49-15,-1 0-55 0,3 0-49 0,-2-1-75 0,-1-3-30 16,0 1-117-16,-1-5-286 0,0-2-259 0</inkml:trace>
  <inkml:trace contextRef="#ctx0" brushRef="#br0" timeOffset="-199123.58">14451 14244 237 0,'14'-1'442'0,"-14"1"-109"16,13 4-6-16,-4 1-61 0,0-2-32 0,-1 4-32 15,1 0-27-15,1-1-27 0,1 3-30 0,-2 0-18 16,4-1-14-16,-3 2-14 0,2 1-1 0,0-2-25 16,1 3-2-16,1-1-10 0,-1 1-5 0,0-2-4 15,1-1-2-15,-2-1-3 0,1 1-2 0,-1-3 0 16,3 0-26-16,-4-2 35 0,-1-2-6 0,1-1 2 16,-2-2-9-16,2-3-2 0,-3-2-2 0,-1-1-8 15,-1-4-13-15,-3 1 24 0,-2-4 8 0,-1 2 24 16,-3-3-12-16,0-1 20 0,-4 0 3 0,-3-2 14 0,1 2-9 15,-4 0 11-15,-2 1-20 0,0 1-2 16,-3 1-19-16,1 3 2 0,-1 2-13 0,-1 3 4 0,2 2-16 16,0 3 10-16,-1 3-63 0,-2 2-75 15,0 3-53-15,5 3-91 0,-2 5-94 0,7 0-540 0,0 0-461 16</inkml:trace>
  <inkml:trace contextRef="#ctx0" brushRef="#br0" timeOffset="-198321.83">14320 15021 448 0,'0'0'489'0,"-13"-1"-77"16,13 1-66-16,-13-4-20 0,13 4-56 0,-9-1-35 16,9 1-73-16,0 0-14 0,-8-4-45 0,8 4-5 15,0 0-28-15,7-6 20 0,-7 6-32 0,10 0 10 16,-10 0-33-16,16 2 16 0,-5 0-28 0,-1 2 11 15,1 1-22-15,1 2 16 0,0 1-26 0,-2 2 17 16,-1 1-14-16,-3 1 18 0,-2 2-4 0,0 0 1 0,-2 2-6 16,-4 0 0-16,-2-2-6 0,-1 2-1 15,-3-2 1-15,2 0-3 0,-2 0-1 0,-2-3-1 16,1 2 1-16,0-3-3 0,-1-2 7 0,2 0-3 16,2-2 2-16,-1-1-3 0,1-2 3 0,6-3-3 0,-9 4 0 15,9-4-4-15,0 0 0 0,0 0 4 16,9-4-3-16,1 1 1 0,-1-2-17 0,6-1-11 0,1-1 0 15,0 1 1-15,4-4 1 0,1 2-14 0,2-2 19 16,0-3-19-16,3 2 29 0,-2-2-17 0,0 0 24 16,1 0-19-16,-5-2 20 0,-2 2-16 15,-1-1 16-15,-1 2-13 0,-3-2 16 0,0 3-18 0,-4 1 20 16,-1 0-16-16,-3 3 21 0,0-1-28 0,-4 1 28 16,-1 7-20-16,-3-7 23 0,3 7-11 15,0 0 26-15,-12-2-24 0,12 2 20 0,-9 6-24 0,9-6 19 16,-9 7-18-16,9-7 38 0,-5 11-20 0,5-11 31 15,1 11-10-15,-1-11 30 0,9 8-7 0,-2-4 2 16,3-2-19-16,2 1-1 0,1-2-14 0,1-1 5 16,-1-2-11-16,1 0 6 0,1 0-11 0,-2-3 6 15,1-1-13-15,-2-1 9 0,-1 0-11 0,-2-4 7 16,-4 2-10-16,-1 0 1 0,-3-1-4 0,-1 2 3 16,-1-1-22-16,-3 1-32 0,-2 2-42 0,-3 2-9 15,-1 3-50-15,-3 1-37 0,-1 2-36 0,0 3-92 16,-5 5-57-16,2 1-465 0,-2 3-375 0</inkml:trace>
  <inkml:trace contextRef="#ctx0" brushRef="#br0" timeOffset="-197766.83">13757 14477 359 0,'-5'-8'476'0,"-1"1"-81"0,1 1-99 16,1 0-37-16,-1 0-48 0,1 1-40 0,-1 2-37 0,-3-1-32 16,8 4-20-16,-11-6-11 0,3 3-10 15,8 3 0-15,-18-2-8 0,18 2-4 0,-15-2-13 0,15 2-3 16,-14-1-8-16,14 1-2 0,-12-2-6 0,12 2-3 15,-11-1-3-15,11 1-14 0,0 0 2 16,-12 1 1-16,12-1 0 0,-5 10 0 0,4-2 1 0,-2 2-21 16,3 5 27-16,3 5 9 0,-1 6 27 0,1 6-12 15,2 9 30-15,-1 4-1 0,1 0 29 0,1 1-22 16,-2-1 14-16,0 1-15 0,0-1 38 0,-2-2-3 16,2-7 19-16,-1 0-15 0,-1-1-14 0,3-2-18 15,-1 0 23-15,0-2-12 0,1 0-10 0,-1-6-16 16,1-2-7-16,5 0-8 0,-2-3-12 0,1-1 2 15,6-3-4-15,-2-1-5 0,5-5-7 0,1-2-50 16,2-2-49-16,-1-3-41 0,-1-3-61 0,7-1-59 16,1-5-93-16,3-1-77 0,0-5-80 0,4-5-347 15,1-4-383-15</inkml:trace>
  <inkml:trace contextRef="#ctx0" brushRef="#br0" timeOffset="-197418.82">14913 14223 226 0,'-2'-7'423'0,"1"0"-139"15,1-2-2-15,0 3-94 0,3-1-10 0,-1-1-60 16,1-1 7-16,4 2-33 0,-3 0 14 0,4 1-45 15,0 0 8-15,0 3-34 0,3 1 12 0,-11 2-26 16,20 0 42-16,-10 4-25 0,3 3 12 0,1 1-17 16,-1 4 29-16,2 1 1 0,-3 4-4 0,-2 2 12 15,4 4 10-15,0 1 0 0,-1 1-5 0,-3 2 3 16,2-1-8-16,-1 0 5 0,-2 2-8 0,0-1-5 16,2 0-10-16,-3 1-4 0,1 0-25 0,-5-4 16 15,2-1-25-15,-3 3 16 0,-2-2-22 0,-1 0 20 16,0-2-22-16,-2 3 18 0,-2-4-17 0,-1 0-34 15,-3-2-64-15,2-1-68 0,-2-1-67 0,-2-5-132 0,0 1-501 16,-1-3-406-16</inkml:trace>
  <inkml:trace contextRef="#ctx0" brushRef="#br0" timeOffset="-196608.53">15332 14905 215 0,'0'0'376'0,"-7"-8"-84"0,7 8-33 0,-7-7-38 16,7 7-74-16,-3-7-6 0,3 7-28 0,0 0-28 15,0-10-18-15,0 10-5 0,13-3 16 16,-13 3-6-16,19 0-29 0,-5 2 15 0,4 1 11 0,5 5-22 16,5 3 10-16,4 6-4 0,3 2 14 0,-1 3 0 15,2 4 4-15,9 7 1 0,-2-1-21 0,3 4 11 16,0 0-9-16,3 2-18 0,-2-2 11 0,3 1-16 15,0 2 12-15,0-3-19 0,-1 0 11 0,2-3-18 16,-5 0-4-16,0-2-2 0,-7-6 2 0,-3-1 1 16,-3-1-6-16,-4-1-3 0,-3-4 6 0,-3-3-25 15,-5-1-38-15,-2-2-23 0,-3-3-37 0,2-1-29 16,-6-1-19-16,0-2-67 0,-1-1-135 0,-8-4-280 16,10 3-154-16</inkml:trace>
  <inkml:trace contextRef="#ctx0" brushRef="#br0" timeOffset="-196336.49">16072 15564 27 0,'-7'6'481'0,"1"2"-117"16,5 0-27-16,-2-1-52 0,3 1-51 0,3 0-41 15,-1 2 3-15,6 0-29 0,1-1-35 0,1 1-13 0,3 0-39 16,2 0-6-16,4 0-14 0,-2-2-11 0,2 1-9 15,1-4-5-15,-1 0-7 0,0-2-1 16,-3-1 0-16,2-2-2 0,1-1-4 0,-3-2-5 0,-1-1-4 16,-2-2-18-16,-3-4-20 0,0 0-4 0,-1-4-25 15,-4-1-28-15,-1-3-30 0,-1-4-13 0,-3-3-6 16,-3 0-11-16,-1-6-43 0,-2-2 22 0,-3-5-32 16,-4-1 29-16,-1 1-10 0,-1-2-40 0,-2 2-167 15,-1-1 161-15</inkml:trace>
  <inkml:trace contextRef="#ctx0" brushRef="#br0" timeOffset="-196102.5">15895 14787 233 0,'0'0'267'15,"0"0"-52"-15,3-6-34 0,-3 6-32 0,0 0-31 16,0 0-24-16,4-4-20 0,-4 4-19 0,0 0-10 0,0 0-7 15,0 0-9-15,0 0-4 0,15 0-4 0,-15 0-4 16,0 0-2-16,8 3-2 0,-8-3-1 0,0 0-2 16,6 4 2-16,-6-4-10 0,0 0-31 15,8 5-29-15,-8-5-23 0,0 0-12 0,5 3 3 0,-5-3-14 16,0 0-23-16,0 0-44 0,0 0-103 0,0 0 84 16</inkml:trace>
  <inkml:trace contextRef="#ctx0" brushRef="#br0" timeOffset="-195929.98">15911 14767 163 0,'0'0'352'15,"-8"-5"-21"-15,8 5-31 0,0 0-89 0,-5-5-28 16,5 5-78-16,0 0 5 0,0 0-4 0,0 0 2 16,3 11 37-16,2-2-9 0,2 4-14 0,5 2-12 15,2 3-5-15,1 4 5 0,8 3-16 0,1 2 12 16,2 0-35-16,1-2 3 0,1 4-22 0,0-2 6 16,0 1-26-16,2 0 13 0,-2-2-8 0,0 2-3 15,-2 0-7-15,1-1-21 0,-1 0 19 0,-2-1-48 16,-1 1-40-16,-2-7-39 0,-3 1-80 0,-2 0-58 15,-3-4-71-15,0-2-462 0,-4-2-290 0</inkml:trace>
  <inkml:trace contextRef="#ctx0" brushRef="#br0" timeOffset="-195565.97">16116 15719 580 0,'-3'7'425'0,"-1"-2"-86"0,4-5-50 15,-3 8-24-15,3-8-35 0,4 7-8 0,-4-7-53 16,13 8-14-16,-4-6-48 0,1 0 5 0,5 1-39 16,3-1-11-16,0 0-14 0,5 0-11 0,-1-2-8 15,3 0-2-15,2-2-3 0,0 0-7 0,0-2 2 16,0 1-2-16,-3-2 0 0,-1-1-3 0,1-1-7 15,-3 0 2-15,-3-2 3 0,-2-1-4 0,0-4-1 16,-2-1-7-16,-4-1 7 0,-1-2 6 0,-3-1-11 16,2 0 18-16,-6-4-23 0,1 5 23 0,-2-1-9 15,-1 0 26-15,-2-1-9 0,-2 2 14 0,1 0 0 16,-3 3 11-16,2-2-8 0,-1 1-7 0,0 1-12 16,0 2 7-16,0 1-1 0,0 2-12 0,1 1-3 15,1 2-28-15,-2-1-84 0,4-1-83 0,-2 5-69 0,3 4-52 16,-5-9-42-16,5 9-490 0,-4-5-369 0</inkml:trace>
  <inkml:trace contextRef="#ctx0" brushRef="#br0" timeOffset="-194355.31">16922 16177 119 0,'0'0'464'15,"-12"-1"-123"-15,12 1-56 0,-13-3-44 16,13 3-44-16,-19-3-36 0,9 2-37 0,-5 0-10 0,-2-2-19 16,-5 1-7-16,-3 0-26 0,-2-4 11 0,-8 1-5 15,0 0-10-15,-8-4-23 0,-4-1 5 0,0-3-18 16,-2 2 12-16,-2-3-15 0,-8-4 7 0,2-1-16 16,-3-1 7-16,-2-2-13 0,0-2 8 0,-3-1 0 15,-1-1-2-15,1-4-4 0,-3-1-4 0,1-1-1 16,0 0-3-16,-3-2 1 0,5 3 0 0,-3 1-12 15,2 1 13-15,-2 2-1 0,-1 1 0 0,3 5-2 0,-1-1 5 16,3 5-14-16,0 2 16 0,3 1-30 16,9 4 3-16,3 0-19 0,0 0 13 0,6 3-25 15,7 1 20-15,2 0-2 0,9 2-4 0,1 0-27 16,4 0-54-16,3 2-82 0,3-2-30 0,4 3-12 0,10 1-245 16,-14-2 22-16</inkml:trace>
  <inkml:trace contextRef="#ctx0" brushRef="#br0" timeOffset="-191830.94">30756 10515 226 0,'0'0'310'0,"-3"7"-6"15,3-7-35-15,3 7-53 0,-2-1-6 0,2 1-54 16,-1-2 1-16,1 5-17 0,-2-2 15 0,2 3-18 16,-1-1-15-16,0 1-20 0,0-1-17 0,-1 0-15 0,2 2-13 15,-2-2 21-15,4 2-21 0,-2-3 6 0,-1 2-19 16,2-3 14-16,0 3-26 0,0-2 4 15,1-1-12-15,0-1 10 0,5 1-22 0,-3-1 11 0,4-1-17 16,3 0 14-16,2 0-15 0,2-3 15 0,6 2-23 16,1 0 11-16,2-1-12 0,8-1 11 15,-1 1-25-15,5-1 16 0,0 1-15 0,0 0 14 0,8-1-15 16,-6-2 11-16,7 2-12 0,3-1 12 0,-3 0-8 16,0 1 1-16,2-2-3 0,1 1 6 0,0 0-3 15,-2-2 5-15,-6 1 1 0,1-1-5 0,-1 1 5 16,-1-1 1-16,-1-1 0 0,0 0 2 0,-3 1 2 15,0-4 28-15,-4 1-2 0,-3 1 5 0,-3 0 17 16,-1-2 12-16,-2 2-13 0,-3-3 3 0,1 1 44 16,-5 0 28-16,-3-1-20 0,2 0 0 0,-4-1-9 15,-2 0-11-15,1 0-19 0,-3-1-11 0,-3 0-10 16,2 1-7-16,-3-2-8 0,0 3 2 0,-1 0-12 0,-2-1 3 16,-2 6-85-16,4-10-64 0,-4 10-80 15,0-10-80-15,0 10-47 0,-4-5-117 0,4 5-372 0,-9-4-365 16</inkml:trace>
  <inkml:trace contextRef="#ctx0" brushRef="#br0" timeOffset="-190952.21">30807 11331 418 0,'-4'6'327'15,"-1"1"-33"-15,3 3-59 0,-1 2-7 0,0 2-15 16,0 2-17-16,1 1-51 0,0 1 9 0,2 0-20 15,0 1-25-15,1 0 6 0,0 1-25 0,1-1 5 16,1 0-23-16,-1-1-2 0,2-1-23 0,-2 0-6 16,1-2-9-16,-1-1-7 0,2-1-2 0,-4-2 11 15,3-2 34-15,-1 0 39 0,-2-1 51 0,0-8-9 16,3 9-29-16,-3-9-23 0,0 0-18 0,0 0-25 16,-14-5 2-16,7-3-15 0,1-2-3 0,-2-4-11 15,1-4 2-15,0-2-30 0,1-2-7 0,2-2-21 0,1-2-18 16,5-2 2-16,0-3-22 0,3 0 13 0,0 2-5 15,3 0 19-15,2 4-5 0,-2 3 7 0,0 3 7 16,-2 3 0-16,-1 2-11 0,1 2-12 16,1 2 7-16,-1 5 12 0,0-1 5 0,-6 6 5 0,12-3-1 15,-12 3 8-15,9 6 16 0,-2-2-14 0,-2 1 17 16,0 4-12-16,0 1 15 0,0-1-15 0,-1 1 15 16,2 2-11-16,-2 0 16 0,1 1-16 0,3-1 13 15,-2 0-12-15,-1 1 13 0,3 0-14 0,1 0 15 16,-1-1-19-16,2 2 16 0,0-3-11 0,0 1 13 15,-1 1-14-15,0-3 11 0,0 1-12 0,-1-2 12 16,-2 0-12-16,-2 0 11 0,2-1-17 0,-2 1 22 16,-4-2-12-16,-2 0 16 0,-5-1-16 0,1 1 9 15,-4-1-6-15,-4-1 12 0,0 0-19 0,-2 0 21 16,0-2-18-16,-2 0 16 0,4-1-11 0,-3 3-6 16,6-3-71-16,0 1-59 0,1-2-53 0,10-1-28 15,-13 3-22-15,13-3-50 0,0 0-85 0,0 0-187 16,0 0-77-16</inkml:trace>
  <inkml:trace contextRef="#ctx0" brushRef="#br0" timeOffset="-190813.21">31198 11580 395 0,'9'2'296'0,"-9"-2"-72"0,13 4-3 0,-13-4-44 0,9 7-38 16,-9-7-28-16,5 11-20 0,-4-5-17 0,1 2-11 16,-1 2-9-16,0 1-7 0,-1 0-10 0,0 0 4 15,0 1-2-15,0 0-5 0,0 1-4 0,0 0-73 16,1-2-76-16,-1 2-70 0,0-2-348 0,2-2-47 15</inkml:trace>
  <inkml:trace contextRef="#ctx0" brushRef="#br0" timeOffset="-190682.21">31525 11642 223 0,'20'-9'344'0,"0"2"-90"15,0-1-58-15,2 1-35 0,-1 2-39 0,-1 0-24 16,-1 2-18-16,0 1-48 0,-1 2-91 0,1-2-72 15,-3 2-288-15,-5 0 119 0</inkml:trace>
  <inkml:trace contextRef="#ctx0" brushRef="#br0" timeOffset="-189594.21">32371 11340 124 0,'0'0'464'0,"0"-11"-128"0,0 11-92 16,0 0-33-16,0 0-12 0,0 0 0 0,0 0 25 0,2 13-12 15,0-2-21-15,0 3 3 0,1 4-38 0,2 1-17 16,2 5 8-16,-1-1-13 0,1 5-22 16,0 0-35-16,1 0 3 0,0 0-32 0,-3-4 7 15,1-1-25-15,-1 0 13 0,0-3-23 0,0-2 13 16,-2-2-19-16,0-1 13 0,-1-3-9 0,1-1 71 0,-1-1 49 16,-2-3 48-16,0-7-26 0,2 11-39 0,-2-11-29 15,0 0-16-15,-11-6-11 0,5-2-22 16,-3-5-31-16,0-2-18 0,-1-6-36 0,-2-3-1 15,3-3-10-15,0-2 8 0,2-1-1 0,0 0 3 16,5-3-3-16,1 5-17 0,3-5-17 0,4 0 7 0,1 5 9 16,2-1-8-16,2 4 17 0,-1 5-9 0,1 2 13 15,0 2-19-15,-1 2 21 0,1 6-9 16,-1 3 23-16,1 0 2 0,-2 4 11 0,-9 1-16 16,18 4 23-16,-10 1-14 0,-2 1 24 0,1 1-19 15,0 2 24-15,-2-1-2 0,-1 3 2 0,1-2-1 16,-1 2-2-16,-1 0 6 0,-1 1 3 0,1-1-4 0,-1-2-1 15,0 3 0-15,0-2-4 0,-2 1 7 0,0-4 0 16,3 1-3-16,-3-1-7 0,1 0-39 16,0 0-16-16,-1-7-9 0,0 12 4 0,2-6-12 15,-2-6-6-15,2 10-20 0,-2-10-21 0,0 10-26 16,0-10 26-16,0 10-30 0,1-4-9 0,-1-6-28 0,-1 12-28 16,1-6-12-16,-2 0-27 0,2-6-173 0,-3 9 100 15</inkml:trace>
  <inkml:trace contextRef="#ctx0" brushRef="#br0" timeOffset="-189007.03">32750 11508 135 0,'0'0'161'0,"0"0"-8"16,0 0-7-16,0 0-23 0,12 0-10 0,-12 0-13 16,0 0-16-16,0 0-19 0,11 1-13 0,-11-1-16 15,7 2 8-15,-7-2-4 0,9 5-2 0,-9-5-10 16,7 11 22-16,-2-5-4 0,-1 1-2 0,1 1-14 16,0 1 8-16,-3 2 12 0,2-1 23 0,-1 1-25 15,-1 0-9-15,-2 0-8 0,0 2 5 0,-2-2 29 16,-1 1-12-16,-1-1 2 0,-1-1-3 0,-1 0 25 15,-1-3-18-15,1 3 32 0,0-3-45 0,-1-1 36 16,2 1-31-16,-1-1 41 0,6-6-33 0,-8 8 30 16,8-8-53-16,-6 6 24 0,6-6-47 0,0 0 30 15,0 0-39-15,11 1 30 0,-11-1-35 0,22-3 29 0,-9 1-42 16,3 0 36-16,2-1-34 0,0-1 34 16,1 1-39-16,2-3 37 0,2 0-40 0,-3 0 41 15,2 0-45-15,-2-1 41 0,-4 1-36 0,0 0 33 16,-3-1-30-16,2 2 32 0,-6 0-33 0,2-1 39 0,-1 3-38 15,-2-1 30-15,-1 1-34 0,-7 3 37 0,7-4-39 16,-7 4 36-16,0 0-36 0,0 0 37 0,0 0-46 16,-7 3 46-16,7-3-36 0,-7 6 27 15,7-6-25-15,-6 10 31 0,6-10-28 0,-1 8 32 0,1-8-34 16,3 12 38-16,1-7-31 0,1 1 57 0,0-1-29 16,4-1 37-16,-2 0-32 0,2-1 37 0,0-2-25 15,-9-1 22-15,19 0-37 0,-11-1 32 0,2-3-34 16,1-1 25-16,-4 1-32 0,0-4 25 0,0 1-26 15,-2-2 20-15,-1 0-33 0,-3-2 23 0,1 4-27 16,-4-1 26-16,1 0-43 0,-5 2-24 0,-4-1-64 16,-1 3-3-16,-2 3-82 0,0 0-32 0,-4 2-64 15,-2 2-104-15,0 1-211 0,-1 1-122 0</inkml:trace>
  <inkml:trace contextRef="#ctx0" brushRef="#br0" timeOffset="-188522.11">32159 12136 197 0,'-25'2'417'0,"0"0"-64"0,1-2-26 15,0 0-43-15,2 0-22 0,3-1-37 16,-3 0-26-16,4 0-16 0,4 0 22 0,1 1-17 0,-1-1 8 16,3-1-25-16,11 2-12 0,-19-1-30 0,19 1-17 15,-13-2-33-15,13 2-8 0,0 0-24 16,0 0-13-16,8-3-10 0,3 3 1 0,4-1-10 16,5 1-1-16,1 0-4 0,6-1-3 0,4-1-2 0,-1 1 1 15,8-1 1-15,1 1-6 0,3-2 1 16,3 1-2-16,4-2-1 0,-2 1 1 0,0-1-14 0,-6 2 14 15,6-2-11-15,-6 2 2 0,0-1 1 0,-1 1 12 16,-2-1-13-16,-2 2 11 0,-5 0-8 0,-1 0 6 16,-2 1-8-16,-5 0 13 0,0 0-13 0,-1 0 13 15,-1 0-14-15,0 1 16 0,-3-1-17 0,1 0 15 16,-1 0-14-16,-2 0 15 0,-1 0-13 0,0 0 9 16,-2 0-8-16,0 0 14 0,-13 0-10 0,20 0 13 15,-20 0 21-15,17 0 15 0,-17 0-10 0,13 0 4 16,-13 0 0-16,14 1 3 0,-14-1-16 0,0 0 4 15,14 0-14-15,-14 0 4 0,0 0-15 0,11-1-54 16,-11 1-119-16,0 0-38 0,0 0-36 0,0 0-43 16,0 0-148-16,0 0-471 0,-5 8-465 0</inkml:trace>
  <inkml:trace contextRef="#ctx0" brushRef="#br0" timeOffset="-187657.89">32485 11436 82 0,'0'0'263'0,"-6"4"-58"0,2 2 2 16,0 2 3-16,0-1-51 0,0 4-21 0,2 0 17 16,-1 2-2-16,1 1-39 0,0 2 1 15,1 0-40-15,0 0 7 0,-1-1-32 0,1 0 8 16,1 0-25-16,0-2 9 0,0 0-22 0,0-1 11 0,0-2-18 16,0 0 20-16,0-1 21 0,0-1 64 0,-1-1 8 15,1-7 72-15,0 11 7 0,0-11-27 0,-4 5-44 16,4-5-17-16,0 0-38 0,-7-5-4 0,4 1-12 15,-1-4-11-15,0 0-10 0,0-3-5 0,1-3-7 16,1-2-9-16,-3 0-2 0,4-2-8 0,0-1 8 16,1 0-17-16,2 0-6 0,3-4-1 0,-1 1-1 15,1 3-4-15,0-1 0 0,3 2 0 0,0 4-2 16,-1 0-3-16,0 2 4 0,1 2-20 0,0 2 13 16,1 1 7-16,-1 2-1 0,1 1 2 0,-9 4 4 15,17-1-7-15,-17 1 5 0,16 5 2 0,-6 0 1 16,-3 1 1-16,1 0 5 0,-3 2 1 0,2 0-8 15,-4 2 9-15,-1 0-3 0,0 1 0 0,-4-1 3 16,1 1-2-16,-3-1-1 0,3 1-4 0,-2-2 4 16,-2 1-14-16,2-3 16 0,0 3-12 0,0-4 14 0,1 1-16 15,-1-2 23-15,3-5-19 0,-4 10 17 16,4-10-18-16,-4 9 13 0,4-9-8 0,-1 7 16 16,1-7-19-16,-5 7 17 0,5-7-16 0,-7 5 18 15,7-5-3-15,-11 6-1 0,4-3 0 0,-4 0-4 0,4 1-76 16,-2-1-21-16,-1 0-29 0,1 2-33 0,-2-1-48 15,0 1-60-15,-1 1-61 0,1 0-90 0,-1-1-211 16,3 0-137-16</inkml:trace>
  <inkml:trace contextRef="#ctx0" brushRef="#br0" timeOffset="-180730.14">13325 6647 394 0,'1'18'362'16,"2"1"-24"-16,2 4-27 0,4 6 3 0,1 6-18 15,2 4-26-15,1 0-17 0,3 3-15 0,0 0-25 16,3 2-17-16,1 4-24 0,2 3-9 0,-3-9-18 15,4 7-21-15,-5-7-30 0,1 1-2 0,-1 0-19 16,-3-4-11-16,3-1-9 0,-4 0 0 0,2-1-20 16,-2-2 6-16,-4-7-16 0,1 2 6 0,0-5-57 15,-5-2-62-15,3-4-53 0,-4-4-7 0,0-1-50 16,-2-3 6-16,-1-2-128 0,-2-9-43 0,2 8-48 16,-2-8-359-16,0 0-290 0</inkml:trace>
  <inkml:trace contextRef="#ctx0" brushRef="#br0" timeOffset="-179569.62">13375 6602 455 0,'-5'-12'435'0,"0"2"-79"0,1 1-52 0,1 0-63 15,2 1-35-15,4-1-43 0,1-1-26 0,5 0-22 16,3-1-6-16,4 0 10 0,9-2-28 0,3-1 7 15,11-1-38-15,4 2 3 0,4-1-27 0,12-3 20 16,3 2-20-16,0-1 7 0,2 2-21 0,3 0 10 16,-1 0-21-16,0-1 17 0,1 3-18 0,-2-2 2 15,3 1-30-15,-3 0 13 0,2 0-15 0,-1 1 2 16,0-1-12-16,-2 1 15 0,-10 2-10 0,2 0 18 16,-1-1-4-16,-3 3-5 0,0-3 5 0,-1 1-5 15,-3 0 0-15,1 1 8 0,-2-1 1 0,-1 3 11 16,-1-2-10-16,-2 1-1 0,-7 1 1 0,9 0 4 0,-9 1-4 15,-2-1 7-15,2 1-2 0,-1 1-4 0,-1-1 2 16,-1 0-2-16,2 0 3 0,-2 1-5 16,-1 1 3-16,0-2 6 0,-3 4-5 0,1 0-3 15,-1-3 5-15,0 2-3 0,3-1-6 0,0-1 6 0,3 0-1 16,-1 1-12-16,-2 0-2 0,3 0 2 0,-2 1-2 16,3-2 1-16,-3 1-2 0,4 0 5 15,-4 1 4-15,-1 2-5 0,-1-2 2 0,-2 2 2 0,3 0 1 16,-4 1-1-16,-1 0-1 0,0 0 11 0,1 1-5 15,-5 2-1-15,0-1 2 0,-5 0-1 0,3 2 25 16,-2 2 30-16,1 0-5 0,-1 1 1 0,-2 3 12 16,1 0 14-16,0-1-11 0,-3 4 7 0,4-1 18 15,-3 2-22-15,3 4-14 0,-3 2 45 0,2 1-14 16,-2 5 25-16,3 3-9 0,-1 3 6 0,0 0-20 16,1 2 5-16,-1-1-19 0,1 2 9 0,0 1-12 15,-1-1-10-15,1-1-2 0,-2-1-8 0,-1 1-10 16,0-2-12-16,-2-4 5 0,-3 1-10 0,0-3 2 15,-1 2-7-15,-4-5 9 0,-1 0-13 0,-2-1 11 0,-2-1-13 16,-2-2 1-16,-2-1-3 0,-3 1-8 16,-3 0-14-16,-4-2-4 0,0 0 0 0,-6-1 2 15,-3-1-1-15,-1-1-3 0,-6-2-7 0,-2-1 3 0,-1-1 6 16,-2 0-12-16,-10-3 3 0,2 1-8 0,-1-2 5 16,-2 0 0-16,-1 0 1 0,-1-1 1 0,1-1 0 15,-3 0 6-15,2 3 4 0,-2-4 1 16,-2 1 7-16,1 0 5 0,-1 1-2 0,0 0 5 0,0 0-2 15,-3 1 4-15,2 0-3 0,-1 0 5 0,-3 0-1 16,4 2 1-16,-2-1 3 0,2 2-3 0,-1-2 3 16,2 2-2-16,1 0 4 0,-1 0-4 0,3 0 2 15,0 3-18-15,1-2 14 0,0-1-24 0,-3 2 3 16,1 0-33-16,0-1 38 0,-2 1-17 0,-1 2 24 16,1-3 0-16,0 2 0 0,0-1 5 0,0 0 6 15,1 1-3-15,1-2-1 0,2 2 3 0,2-4-1 16,1 2-5-16,3-3 6 0,6 0 1 0,2-1 1 15,0 0 0-15,1-2-1 0,5 2 0 0,1-3-1 16,2 1 11-16,0-1-10 0,5-1 0 0,-3 4 1 16,4-4 0-16,0 0 8 0,-1 1 0 0,2-1 9 15,0 1 0-15,2 1-3 0,0-1-3 0,1-1 1 16,0 0 0-16,4 0-3 0,-2 0 0 0,1-1 2 16,1 1 0-16,1 0 3 0,9-2 14 0,-17 4 14 0,17-4 5 15,-13 2 1-15,13-2 10 0,-12 2 1 16,12-2 2-16,-11 1-7 0,11-1-2 0,-10 2-6 15,10-2-6-15,-11 1-9 0,11-1-6 0,-11 2-3 0,11-2-6 16,-10 4 0-16,10-4-7 0,-13 2-1 0,13-2-1 16,-10 5-9-16,10-5 14 0,-11 5-9 15,11-5 11-15,-9 3-7 0,9-3 3 0,-9 5-11 0,9-5 7 16,-7 5-8-16,7-5 9 0,-7 4-9 0,7-4-1 16,0 0 1-16,-8 3 13 0,8-3-12 0,0 0 7 15,0 0-4-15,-8 4 6 0,8-4-8 0,0 0 11 16,0 0-7-16,0 0 7 0,-5 3-6 0,5-3 8 15,0 0-8-15,0 0 4 0,0 0-6 0,0 0 7 16,0 0-8-16,0 0 5 0,0 0-5 0,-6 4 3 16,6-4-5-16,0 0 7 0,0 0-6 0,0 0 6 15,0 0-4-15,0 0 5 0,0 0-2 0,0 0 3 16,0 0-6-16,0 0 4 0,0 0-4 0,0 0 5 16,0 0-20-16,0 0-32 0,0 0-51 0,0 0-18 0,0 0-47 15,0 0-46-15,0 0-51 0,-8-2-75 0,8 2-91 16,0 0-523-16,0 0-527 0</inkml:trace>
  <inkml:trace contextRef="#ctx0" brushRef="#br0" timeOffset="-175982.48">10022 6321 320 0,'-5'3'411'0,"5"-3"-101"15,0 0 5-15,0 0-52 0,0 0-16 0,-12-1-29 16,12 1-26-16,0 0-8 0,0 0-21 0,-6-3 11 15,6 3-27-15,0 0 14 0,0 0-22 0,0 0-5 0,0 0-26 16,-9-4-12-16,9 4-29 0,0 0-7 16,0 0-20-16,0 0-5 0,0 0-18 0,0 0-1 15,0 0-12-15,0 0 5 0,0 0-8 0,-3 6 10 0,3-6-12 16,4 13 10-16,0-6-10 0,0 4 9 0,-1-3-8 16,3 2 7-16,0 0-7 0,2 1 33 15,-1-3 28-15,2-1 22 0,-1 0 33 0,2-1 14 0,-1-3-4 16,1-1-18-16,2 0-16 0,-2-4-12 0,3 0-17 15,1-3-17-15,0-1-3 0,1-4-10 0,1-1-9 16,0-3-3-16,-2 0-7 0,1 0-34 16,0-1-45-16,-1-1-43 0,-3 0-35 0,2 0-26 0,-3 2-45 15,-1 2-33-15,-1 1-41 0,-3 1-68 0,1 2-48 16,-3 2-106-16,-3 6-256 0,0-8-280 0</inkml:trace>
  <inkml:trace contextRef="#ctx0" brushRef="#br0" timeOffset="-175686.26">10029 6644 175 0,'0'0'298'0,"0"13"-28"0,0-13-23 0,0 10-32 0,3-5-35 15,-3-5-23-15,2 12-4 0,-2-12 1 0,4 9 5 16,-4-9-9-16,8 7-16 0,-8-7-38 15,10 6 49-15,-10-6-9 0,17 1-11 0,-7-2-13 0,3-1-5 16,2-3 5-16,3 0-11 0,0-4-20 16,5 0-3-16,1-4-26 0,3 0 12 0,-3-1-23 0,1-1 3 15,0-2-8-15,-2 1 4 0,0-2-16 0,0 1 11 16,-4 0-14-16,0 0 6 0,-3 2-16 16,-1 0 9-16,-2 1-12 0,0-1 14 0,-4 4-14 0,0 0 11 15,-3 1-13-15,4 0-41 0,-5 3-72 0,0 0-52 16,-1-1-56-16,-4 8-115 0,7-7-42 0,-7 7-463 15,0 0-374-15</inkml:trace>
  <inkml:trace contextRef="#ctx0" brushRef="#br0" timeOffset="-171274.33">26165 5848 259 0,'0'0'278'0,"2"-7"-7"0,-2 7-22 0,3-7-40 16,-3 7-37-16,4-9-8 0,-4 9-17 0,4-8 14 16,-4 8-17-16,7-7-8 0,-7 7-41 0,3-9-15 15,-3 9-22-15,7-6 4 0,-7 6-16 0,3-6-3 16,-3 6-15-16,4-6 2 0,-4 6-15 0,0 0-23 15,8-4 20-15,-8 4 0 0,0 0-65 0,12 0-26 16,-12 0-30-16,11 5-55 0,-11-5-45 0,12 8-77 16,-6-5-264-16,2 1-62 0</inkml:trace>
  <inkml:trace contextRef="#ctx0" brushRef="#br0" timeOffset="-171041.33">25736 6049 152 0,'-13'2'415'0,"13"-2"-112"0,0 0-39 0,0 0-37 16,13-4-32-16,-3 3-17 0,9-2-20 0,2 1-10 15,7 1-27-15,8-3-20 0,3 3-11 0,5-1-19 16,4 0-14-16,4 0-3 0,-1 2-22 0,-2-1-25 15,-6 2-47-15,-1-1-53 0,-3 2-46 0,0 0-132 16,-5 1-369-16,-6 0-149 0</inkml:trace>
  <inkml:trace contextRef="#ctx0" brushRef="#br0" timeOffset="-170823.8">25847 6263 557 0,'-11'3'453'16,"3"0"-110"-16,8-3-77 0,0 0-37 0,-6 4-36 15,6-4-15-15,14 1-28 0,-3-1-14 0,6-1-39 16,3 1-1-16,3-1-29 0,5 0-3 0,0-1-23 0,3 2 12 16,0-1-51-16,5-1-36 0,-4 0-51 0,-2 2-87 15,0-1-50-15,-2 0-103 0,0-1-334 16,-5-1-168-16</inkml:trace>
  <inkml:trace contextRef="#ctx0" brushRef="#br0" timeOffset="-169302.22">27089 2196 264 0,'-1'-14'274'0,"0"1"-55"0,1 1-18 16,0 1-8-16,2-1-30 0,0 1-34 0,0-1-10 0,3 2-2 15,2-2 13-15,-1 2-24 0,5-1-17 0,1 1-11 16,5 1 11-16,1-1-18 0,3 2-9 0,2 1-10 16,5 0-7-16,-2 3-22 0,3 0 16 0,2 3-16 15,-1 0-6-15,0 1 6 0,1 2-33 16,-2 1-38-16,-1 0-32 0,-1 2-58 0,-3 1-41 0,-1 0-48 15,-2 3-57-15,-2-2-205 0,-7 1 19 0</inkml:trace>
  <inkml:trace contextRef="#ctx0" brushRef="#br0" timeOffset="-169096.16">26992 2487 134 0,'-5'9'281'0,"3"-2"-34"0,4 0-50 15,3-1-24-15,5-2-18 0,5 2-22 16,2-3-15-16,3 0-12 0,6 0-6 0,5-2-15 0,0 0-18 16,7 0-9-16,-1-1-13 0,0 0-6 0,-1-1-4 15,-5 1-11-15,-1-1-25 0,-3-1-38 0,0 0-30 16,-3 0-18-16,-6 0-51 0,-1 0-48 0,-3-1-68 16,-3-1-136-16,-2 1 158 0</inkml:trace>
  <inkml:trace contextRef="#ctx0" brushRef="#br0" timeOffset="-161150.15">19218 5703 322 0,'-1'-9'292'0,"0"1"-56"0,1 0-12 16,0-1 11-16,0 1-26 0,0-1-38 0,0 1 13 15,1-1-27-15,-1 2-1 0,1-1-31 16,0 1-15-16,1 0-15 0,0-2-22 0,0 3 4 0,0 0-23 16,-1 0-2-16,-1 6-24 0,3-9-1 0,-3 9-10 15,6-9-10-15,-6 9-4 0,0 0 1 0,0 0-1 16,0 0-1-16,9 10 0 0,-7-1 3 0,-1 3-3 16,0 5 6-16,-1 2-10 0,0 3 9 0,-1 2-4 15,-2 2-2-15,1-1 5 0,-1 2 2 0,-1-2-4 16,2 0 0-16,-3 0 5 0,2 0 17 0,1-4-6 0,-1-2 1 15,0-1 2-15,2-1-2 0,-1 0-1 16,0-5-1-16,2 0-1 0,-1-1-1 0,0-2 17 16,-1 0 16-16,1-2 11 0,1 0 4 0,0 0 1 15,0-7-2-15,4 10-4 0,-4-10 1 0,8 10-10 16,-2-8-10-16,3 1-9 0,0 0-4 0,1-2-6 0,0 2-1 16,1-2-5-16,0-1 0 0,-11 0-1 15,21 1-4-15,-10-2-4 0,2 0 0 0,-2 0 2 0,1-1-3 16,-2 1 2-16,-10 1-3 0,18-4-1 0,-18 4-23 15,17-2-57-15,-17 2-25 0,11-2-46 0,-11 2-55 16,13-3-56-16,-13 3-43 0,9-2-47 16,-9 2-91-16,0 0-182 0,10-4-131 0</inkml:trace>
  <inkml:trace contextRef="#ctx0" brushRef="#br0" timeOffset="-160672.03">19791 5694 352 0,'0'0'310'0,"-2"-10"-73"0,2 10-43 0,-5-11-41 16,5 11-38-16,-5-7-24 0,5 7-21 0,-9-4-14 0,9 4-16 15,-16 0 13-15,7 2 7 0,-3 1-16 0,1 3-3 16,-1 2-8-16,1 0-6 0,-1 3-7 0,1 0-26 16,0 3 31-16,-1 1-25 0,4-1 35 15,0 1-31-15,2 0 39 0,2 0-27 0,0 0 24 16,3 0-19-16,0-2 14 0,2 0-26 0,0 0 34 0,3 0-23 15,-1-2 7-15,2 0-3 0,-2-1 15 0,3-1-2 16,-1-2 17-16,1 1 9 0,-1-1 6 0,3-4 10 16,-3 1 8-16,-5-4 13 0,12 4-9 0,-12-4-11 15,11-2-7-15,-11 2-25 0,10-8 10 0,-6 2-29 16,1-1 19-16,-2 0-26 0,-2-3 9 0,3 2-17 16,-3-2 9-16,3 2-22 0,-3 0 16 0,-1 0-13 15,2 1 12-15,-2 0-25 0,0 7-19 0,2-11-64 16,-2 11-55-16,0-9-4 0,0 9-68 0,0 0 3 15,-1-5-44-15,1 5-60 0,0 0-267 0,0 0-98 16</inkml:trace>
  <inkml:trace contextRef="#ctx0" brushRef="#br0" timeOffset="-160019.6">19847 5746 357 0,'0'0'274'0,"0"0"0"0,0 0-32 15,4 11-40-15,-4-11-56 0,0 15 34 0,-4-5-36 16,4 2 7-16,0 0-40 0,0 0 0 0,0 1-21 16,0 1 3-16,4-2 4 0,-2 2-16 0,1 1-13 15,1-1 0-15,0-1 3 0,2 1-9 0,-1-2 1 16,5 1-11-16,-3-1 1 0,0-1-11 0,2-1-3 15,1 0-6-15,1-2-2 0,-1-1-6 0,1 0-17 16,0-3 16-16,1 0-3 0,-1-1-3 0,0-2 1 16,-11-1 0-16,23-1-3 0,-10-2-3 0,-2-1 1 15,2-3-29-15,-1-3 30 0,-3-2-20 0,1-5 18 16,-2-1-27-16,-1-3 17 0,0-2-10 0,-2-1 11 16,-1-2-18-16,-2 0 14 0,2 2-23 0,0-1 40 0,-2 3 20 15,1 3 41-15,-1 2-13 0,1 3-1 0,-2 1-32 16,1 3 1-16,-1 3-26 0,-1 7 19 15,1-6-24-15,-1 6 15 0,0 0-16 0,3 8 18 16,-3 1-19-16,0 0 12 0,0 3-14 0,1-1 18 0,-1 2-16 16,0 3 17-16,1 0-20 0,-1-2 19 15,2 2-15-15,0 1 17 0,-2-1-3 0,0 0-5 0,3-3 0 16,-3 0-1-16,0-1 1 0,1-1 0 0,0 0 0 16,-1-2 1-16,0-2 3 0,0 1 25 0,0-1 60 15,0-7 39-15,0 9-32 0,0-9-8 0,0 0-20 16,0 0-18-16,9 4-13 0,-9-4-16 15,9-6-7-15,-1 1-7 0,2 3-6 0,-1-3 0 0,0 2-6 16,2 0-6-16,0 2 0 0,0 0-1 0,-1 2-3 16,2 1 1-16,-2 2 1 0,1 1 2 0,0-1-1 15,-2 4 5-15,0 0-3 0,-2-1 0 0,0 3 6 16,-3-2-8-16,-1 3 9 0,0-1-1 0,-3 1 1 16,0-2 0-16,-3 1-11 0,1 0 11 0,-3-1 2 15,-2 1-1-15,1-2-3 0,-3 1 4 0,-1-1-5 0,1-2-19 16,-1-1-49-16,1 1-28 0,0-3-29 15,0 0-41-15,9-3-42 0,-17 1-23 0,17-1-23 16,-11-3-48-16,11 3-32 0,-11-5-54 0,11 5-56 16,-1-13-213-16,1 5-164 0</inkml:trace>
  <inkml:trace contextRef="#ctx0" brushRef="#br0" timeOffset="-159539.6">20381 5908 207 0,'12'-4'323'0,"-12"4"-50"16,6-2-40-16,-6 2 22 0,0 0-69 15,0 0 26-15,15 4-20 0,-15-4-10 0,0 0-19 16,9 2-8-16,-9-2-24 0,0 0-15 0,12 3-20 0,-12-3 12 16,0 0-25-16,13 3 6 0,-13-3-33 0,0 0 8 15,16-1-23-15,-16 1 10 0,13-4-22 0,-13 4 11 16,12-5-24-16,-5 1-28 0,-2-3-41 0,0 2 8 16,-1-2-26-16,0 0 0 0,0 1 20 0,-3 1 0 15,-1 5 16-15,0-11-4 0,0 11 11 0,-8-6-7 16,8 6 14-16,-10-1-5 0,10 1 13 0,-15 4-10 15,7 0 11-15,-1 0-5 0,2 3 19 0,0 0-4 16,1-1 3-16,1 2 9 0,1-1 50 0,1 2-8 16,3-2 12-16,0 1 20 0,2 1 1 0,0-2-4 15,3 0-3-15,-1 1-5 0,4-2-20 0,1 2 16 0,0-3-10 16,2-1-10-16,1 0-8 0,-1 0-8 16,2-2-3-16,2-1-5 0,-2-2-2 0,2 1-6 15,1-5 0-15,0 0-22 0,-1-1 18 0,0-1-10 0,0-4 11 16,-1-2-21-16,0-1 19 0,0-3-24 15,-5-2-6-15,2-3-22 0,-3-3 21 0,-1 2-13 16,-1-1 20-16,-1 2-16 0,-2 3 28 0,-2 1-6 0,2 2 17 16,-2 2-19-16,-1 1 12 0,-1 5-18 0,-2-1 15 15,-1 5-19-15,4 4 22 0,-13-2-16 0,3 6 20 16,1 1-17-16,-1 4 24 0,-1 1-16 0,2 2 13 16,0 2-15-16,2 1 20 0,-2 0-17 0,6 2 18 15,1 1-17-15,1 0 18 0,2 1-1 0,2 0-4 16,2 3 3-16,1 0 5 0,3 1-64 0,0-2-54 15,3 2-49-15,-2-3-92 0,0 1-34 0,0-2-105 16,2-2-420-16,-3 1-321 0</inkml:trace>
  <inkml:trace contextRef="#ctx0" brushRef="#br0" timeOffset="-158441.87">19184 6076 403 0,'-16'5'297'0,"5"0"-34"0,2 0-55 16,0-1 6-16,1 1-44 0,2 1 10 0,2 1-2 16,1-1-2-16,5 2-16 0,3-1-3 0,5 2-30 15,7 0-19-15,4 0-1 0,10 1-23 0,9 1 0 16,3-3-25-16,8 1 3 0,4-2-21 0,5-2 10 16,13 4-32-16,5-4 17 0,0-2-22 0,1 1 14 15,3-1-25-15,-1 1 18 0,-3-1-16 0,-1-2 10 16,0 0-13-16,-1 0 15 0,-13 0-22 0,0-1 18 15,-2 1-21-15,-2 1 20 0,-3-1-23 0,-3-1 25 16,-3 2-20-16,-11-2 21 0,1 0-20 0,-8 0 19 16,-3 0-20-16,1-2 19 0,-5-1-20 0,1 1 20 15,-6 1-18-15,1-4 13 0,-3 1-22 0,1-2 23 16,-4 1 12-16,4-3 20 0,0-1-9 0,-5-3 10 16,4 1 0-16,-5-2-7 0,0-2-7 0,2 0-1 0,-2-3-18 15,2-4 10-15,-2-1-3 0,0-2-23 0,-3-1 15 16,-1-1-20-16,1 0 22 0,-2-2-24 0,-3 0 21 15,0 3-19-15,-3 0 19 0,-2-3-18 16,-3-4 12-16,-2-1-13 0,-4-4 18 0,-4 1-19 16,-4 1 19-16,-3 0-24 0,-3 1 26 0,-5 0-21 0,-6-2 19 15,-6 1-21-15,-4 2 18 0,-4 2-24 16,-6 3 20-16,-1 0-19 0,-2 3 16 0,-4 1-18 0,-2 1 20 16,-6 2-21-16,2 3 21 0,-2 1-20 0,3 1 19 15,-1 3-12-15,3 3 13 0,7 2-18 0,1 2 16 16,1 4-14-16,1 0 20 0,4 2-19 0,-1 4 23 15,4-1-18-15,-2 4 19 0,3 3-18 0,3 2 19 16,-1 3-22-16,2 3 23 0,1 2 5 0,0 2-23 16,-6 9 17-16,4 1-14 0,-1 4 17 0,2 2-20 15,2 3 18-15,0 1-20 0,2 1 25 0,5-1-18 16,1 2 15-16,7-7-22 0,3 1 24 0,3 0-20 16,-2 0 23-16,7-1-3 0,0 1 1 0,4-1 2 15,2-6-9-15,2-1-1 0,2 3-2 0,2-7-17 16,4 2 20-16,1-4-17 0,4 1 16 0,0-2-21 0,6 2 21 15,2-2-12-15,4-3 17 0,3-1-18 16,3-4 16-16,5-1-16 0,4 2 22 0,3-4-26 0,-2-3 25 16,8 0-16-16,1-2 16 0,3-2-21 0,2-2 22 15,4 1-31-15,-2-3 22 0,2 0-30 0,2-2 15 16,-2 1-34-16,0 0-4 0,-5-2-20 16,2-1-1-16,-10 2-14 0,-2-2-39 0,-2 0-8 0,-2 2-58 15,-8-2 2-15,2 0-58 0,-5 1-15 0,-1-1-97 16,-3 1-167-16,-1 1-24 0</inkml:trace>
  <inkml:trace contextRef="#ctx0" brushRef="#br0" timeOffset="-151738.97">10092 9943 318 0,'0'-14'381'0,"0"2"1"0,-1 1-100 15,-1-1 14-15,0 0-83 0,-2 1-7 0,0 0-34 16,-1 0 18-16,1 1-51 0,2-1 1 0,-4 3-30 16,3-1-16-16,-4 4-4 0,4-2-21 0,-1 0-11 15,4 7-18-15,-9-3-7 0,9 3-9 0,-14 6-21 16,6 3 20-16,2 4-27 0,-2 3 8 0,-1 6 15 16,0 6-21-16,3 3 18 0,-1 1 0 0,2 3-8 15,-1-1 3-15,3 1-2 0,1-1-2 0,0-6-4 16,2-1 5-16,3 0-2 0,0-3-8 0,0-2 5 0,6-1 4 15,0-2-1-15,0-3 9 0,5-3-8 16,2 0 1-16,0-4 4 0,0-2-11 0,0-2 8 16,2-3-39-16,1-2-32 0,0-1-36 0,1-3-42 0,1-3-40 15,1-1-13-15,-3-4-37 0,3-2-34 16,-4 0-15-16,0-4-9 0,-2-3-233 0,-4-1-23 0</inkml:trace>
  <inkml:trace contextRef="#ctx0" brushRef="#br0" timeOffset="-151563.92">10344 9986 259 0,'2'-14'393'0,"-2"2"-70"0,1 4-10 0,1 1-107 15,-1 1-17-15,-1 6-77 0,3-11-1 16,-3 11-43-16,0 0 91 0,7-3-51 0,-7 3-20 0,9 6 9 16,-5 0-28-16,1 1 17 0,2 1-46 0,-2 2 17 15,2 2-26-15,-3-1 24 0,3 3-17 0,-1 0-4 16,-1 1-3-16,3-1 4 0,-3 2-9 0,1 0 3 16,-2 0-50-16,3-2-55 0,-4 1-30 0,4-1-45 15,-2 1-39-15,-1-2-30 0,-2-2-5 0,2-1-95 16,-1-1-196-16,-2-1-15 0</inkml:trace>
  <inkml:trace contextRef="#ctx0" brushRef="#br0" timeOffset="-151438.97">10257 9891 93 0,'-8'-15'350'0,"2"2"-92"0,-2 0-67 15,3 2-37-15,0 0-40 0,2 1-89 0,-2 0-50 16,2 1-35-16,2 0-41 0,-1-2-211 0,-1 3 226 0</inkml:trace>
  <inkml:trace contextRef="#ctx0" brushRef="#br0" timeOffset="-151275.97">10351 9606 97 0,'8'5'355'0,"5"3"-91"16,-3 1-23-16,5 4-31 0,-2 3-42 15,0-1-29-15,2 2-15 0,-1 4-23 0,3-1-39 0,-3 1 21 16,3 0-43-16,-3 0 18 0,1 0-7 0,-1 1-4 15,-1-4-1-15,-2 1-10 0,2-1-29 0,-4 1-44 16,3-1-40-16,-2 0-70 0,-3-1-59 0,1-3-314 16,-3-2-21-16</inkml:trace>
  <inkml:trace contextRef="#ctx0" brushRef="#br0" timeOffset="-150726.75">10533 9964 67 0,'0'0'423'0,"0"0"-102"0,0 0-93 0,-7-4-26 0,7 4-65 16,9-8 11-16,-1 2-44 0,5-3 14 0,2-1-46 0,3-2 25 15,6-3-17-15,-2 0-12 0,9-5-8 16,-2 0-9-16,2 0-9 0,-2-1-10 0,1 2 8 0,-6 1-19 16,-1 1-2-16,-1 0-4 0,-2 2-1 0,-2 2 15 15,-4 3 32-15,-4 1 6 0,2 1-3 0,-3 1-6 16,-2 1-14-16,2 1-11 0,-9 5 1 0,0 0 17 15,0 0-2-15,9 8-9 0,-9-8-36 0,0 13 26 16,0-6-35-16,0 2 27 0,0-1-31 0,3 2 35 16,-2 1-37-16,0-1 38 0,3 0-33 0,-1-2-5 15,1 2 17-15,2-3 0 0,-1-1 44 0,3 1 5 16,1-2 14-16,1-2-24 0,0 1 6 0,0-3-25 16,3 1 18-16,-1-4-25 0,-2 1 23 0,3-3-26 15,-3 1 21-15,1-2-10 0,-3-1-1 0,0-1-4 16,1-3-19-16,-2 2-26 0,-2-2 2 0,1 2 2 15,-1-1 0-15,-1 0 6 0,-2 2 2 0,2 0-4 16,0 1-3-16,-4 6-2 0,5-8-1 0,-5 8-2 16,6-3 8-16,-6 3-1 0,5 3 4 0,-5-3 2 15,7 8 7-15,-3-1-5 0,1 0 2 0,0 1-22 16,-1 1 30-16,1 0-22 0,1 1 35 0,-2-1-18 0,4 2 32 16,-3 0-11-16,0 0 24 0,-1-1-29 0,1-1 18 15,-1 1-18-15,-1-1 21 0,1 1-17 0,-4-1 30 16,0-1-7-16,0 0 30 0,-1 1-11 0,-4-1 10 15,0-2-14-15,0 0 7 0,-3-1-15 0,2-2 3 16,-3-1-19-16,9-2 9 0,-17 0-19 0,8-2-2 16,0-3-1-16,0 0 1 0,0-3-53 15,-2-1-43-15,3-1 5 0,3 2-47 0,-2-1-2 0,4 1-60 16,-4 0-35-16,5 4-75 0,-2-2-45 0,4 6-76 16,-1-10-278-16,1 10-197 0</inkml:trace>
  <inkml:trace contextRef="#ctx0" brushRef="#br0" timeOffset="-149169.5">10785 10644 301 0,'-6'-5'335'15,"3"-1"5"-15,-3-1-64 0,3 0-10 0,-2 2-59 16,1-1 35-16,0 1-68 0,4 5 17 0,-4-9-79 16,4 9-5-16,-4-8-53 0,4 8 30 0,0 0 24 15,0 0 20-15,0 0-31 0,16 3 23 0,-6 2-24 16,0 2-10-16,0 4-9 0,4 1 4 0,-1 3-9 15,1 1 6-15,-2 1-3 0,2 3-22 0,-3-2 36 0,0 2-22 16,1-2 1-16,-3 1-24 0,0-1 3 16,3 1 6-16,-3-2 0 0,-3-2-19 0,0-2 9 15,2 0-15-15,-3-1 4 0,0-4-13 0,-1 2 29 16,-1-3 31-16,1 2 28 0,-2-3 21 0,-2-6-28 0,3 7-18 16,-3-7-15-16,0 0-11 0,0 0-13 0,-12-3-6 15,8-3-47-15,-4-3-26 0,1-4-29 0,-2-4-18 16,-1-2-23-16,-3-8-14 0,3 1 5 0,-2-4 10 15,0-5 7-15,-1 0-8 0,0 1 32 0,4 3 11 16,1 2 1-16,2 1 18 0,3 6 4 0,-3 0 2 16,5 6 1-16,-2 1 0 0,4 2 3 0,2 4 4 15,1-1 5-15,1 5 8 0,3 2-2 0,-8 3 5 16,19 0 5-16,-8 3-8 0,2 2 14 0,4 3-11 16,2 2 22-16,0 4-14 0,5 2 20 0,-1 1-16 15,5 4 7-15,-2 1 1 0,1 2 7 0,0 0 13 16,-2 1-51-16,1-1-59 0,-2 1-75 0,-5-3-31 15,-1 1-69-15,-1-2-11 0,-2 0-64 0,-6-2-108 16,0-1-175-16,-3-2-129 0</inkml:trace>
  <inkml:trace contextRef="#ctx0" brushRef="#br0" timeOffset="-149038.5">11067 10949 253 0,'-11'-10'436'0,"0"-1"-108"0,1-1-5 0,4-3-72 15,1 1-26-15,2-1-44 0,3-3-8 0,1 0-61 16,3-3-17-16,5 0-26 0,1 0-14 15,3-1-7-15,6 1-42 0,-2 2-48 0,2 0-121 0,3 2-102 16,0 1-394-16,-3 4-166 0</inkml:trace>
  <inkml:trace contextRef="#ctx0" brushRef="#br0" timeOffset="-148642.56">11601 11332 64 0,'0'0'623'0,"0"-7"-228"16,0 7-58-16,0 0-109 0,0 0 56 0,0 0-40 16,12 4-10-16,-8 1-55 0,1 4-6 0,2-1-30 15,0 5-17-15,2 0-15 0,1 2-18 0,1 0-15 16,1 3 4-16,1 0-32 0,1 4 7 0,1 0-23 15,-1 1 7-15,3 0-10 0,-3-1-12 0,0 2-90 16,1 0-31-16,-1-2-88 0,0 0-33 0,-3-3-75 16,-1-1-94-16,-3-1-355 0,0-4-255 0</inkml:trace>
  <inkml:trace contextRef="#ctx0" brushRef="#br0" timeOffset="-148457.56">11477 11498 420 0,'-1'-9'415'0,"2"-2"-71"16,-1 0-52-16,7-1-21 0,-1-1-43 0,6-1-38 0,2-2-7 15,0 0-80-15,5-1 10 0,1 0-46 0,0 1 19 16,-4 1-50-16,2 3 22 0,1-1-38 16,0 1 31-16,-1 3-47 0,0-1-39 0,-4 3-135 0,3 0-47 15,-3 0-117-15,-2 3-338 0,-1 0-180 0</inkml:trace>
  <inkml:trace contextRef="#ctx0" brushRef="#br0" timeOffset="-146726.04">11449 10378 189 0,'0'0'314'0,"8"-6"-72"15,-8 6-46-15,10-7-20 0,-1 1-36 0,0 0-29 16,1-3-14-16,2 0-13 0,0 0-13 0,4-1 4 0,-1-2-27 16,2 1-11-16,-2-1-7 0,3 1 2 0,-1-1-2 15,-1 0-6-15,0 2-25 0,-3 1 34 16,-1 1-29-16,0 0 27 0,-2 3-27 0,-1-1 41 0,-3 2-18 15,3-2 50-15,-4 2-35 0,2 0 21 0,-7 4-41 16,9-6 36-16,-9 6-36 0,7-4 30 0,-7 4-37 16,9-5 35-16,-9 5-46 0,5-3 29 0,-5 3-40 15,0 0 28-15,8-3-35 0,-8 3 30 0,0 0-23 16,9 2 23-16,-9-2-30 0,9 6 33 0,-4-1-34 16,0 2 47-16,3 1-17 0,2 1 38 0,-1 2-43 15,1 1 35-15,3 3-42 0,1 0 40 0,1 4-27 16,3 0 50-16,1 3-35 0,2-2 30 0,2 4-35 15,1 3 33-15,2-4-3 0,-1 2-13 0,2 0-1 16,-1 0-9-16,-1-1-3 0,1 0 0 0,-1 1 6 16,1 1-7-16,-4-4 2 0,-2 0 6 0,0-1-5 15,0 2 17-15,-2-3-27 0,-1 1 19 0,0 0-19 16,0 0 33-16,-3 0-12 0,1 0 0 0,-5-4-13 16,2 1 8-16,-1-2-18 0,-2 1 8 0,0-4-21 0,-2-1 16 15,0 0-18-15,0-3 18 0,-2 1-13 0,-1-3 43 16,-1 3 24-16,0-3 24 0,-3 3-7 15,0-3-7-15,-4 3-22 0,-1-3-8 0,-4 4-16 0,0-3-2 16,-5 3-10-16,-1-2-2 0,-4 2-11 0,-2-3 5 16,1 2-10-16,-3-2 4 0,0 2-8 0,0-2 2 15,1 1-25-15,0-1-58 0,-1 0-83 16,3-1-52-16,-1-2-97 0,2 3-68 0,4-3-70 0,0-1-490 16,-1 0-510-16</inkml:trace>
  <inkml:trace contextRef="#ctx0" brushRef="#br0" timeOffset="-118492.48">8185 9706 106 0,'0'0'95'15,"5"-5"23"-15,-5 5-71 0,0 0 25 0,0 0-48 16,5-4 31-16,-5 4-47 0,0 0 29 0,0 0-51 16,0 0 32-16,0 0-57 0,13-1 39 0,-13 1-42 15,0 0 42-15,0 0-41 0,0 0 44 0,0 0-43 16,9 1 51-16,-9-1-47 0,0 0 50 0,0 0-47 16,0 0 45-16,0 0-35 0,8 3 46 0,-8-3-28 15,0 0 67-15,0 0-24 0,0 0 46 0,0 0-35 16,0 0 37-16,0 0-36 0,0 0 37 0,0 0-40 15,0 0 35-15,0 0-32 0,7 3 29 0,-7-3-43 16,0 0 31-16,0 0-49 0,0 0 28 0,0 0-45 16,0 0 30-16,0 0-37 0,0 0 29 0,0 0-35 15,0 0 32-15,0 0-33 0,4 4 51 0,-4-4-26 16,0 0 24-16,0 0-37 0,5 7 38 0,-5-7-28 16,3 7 60-16,-3-7-9 0,4 9-8 0,-4-9-11 15,5 11-8-15,-4-4 7 0,2 0-20 0,-1 3-3 16,2-2-2-16,-1 2 2 0,-2-1-1 0,4 3-3 15,-4-2 2-15,2 3-3 0,-2-1-2 0,3 0-1 16,-4 1 3-16,3 1 2 0,-2-2-7 0,0 1 4 16,0 1 1-16,1-2 1 0,-1 3 1 0,-1-2 0 0,0 0-35 15,1 0-55-15,-1 0-7 0,2-1-80 0,-2 1-25 16,0-3-264-16,0 0 74 0</inkml:trace>
  <inkml:trace contextRef="#ctx0" brushRef="#br0" timeOffset="-117905.65">8254 9706 211 0,'-4'-5'306'0,"-1"1"-9"16,5 4-62-16,-6-7 17 0,6 7-57 0,-8-7 2 15,8 7-52-15,-6-5-6 0,6 5-51 0,-4-4 5 16,4 4-45-16,0 0 9 0,-4-7-29 0,4 7 12 16,3-8-33-16,-3 8 21 0,11-8-25 0,-2 1 18 15,1 3-19-15,3-2 17 0,1-1-25 0,-1 1 23 0,2 0-25 16,2-2 24-16,-1 4-25 0,1-3 20 16,1 0-20-16,-1 1 22 0,-1 2-24 0,2-2 22 15,-4 1-23-15,0 1 24 0,2 1-22 0,-5-1 18 0,-1 1-23 16,2 0 21-16,-3 1-22 0,-9 2 22 0,15-4-21 15,-15 4 20-15,13-3-18 0,-13 3 22 0,11-4-22 16,-11 4 26-16,11-2-22 0,-11 2 24 0,11-3-20 16,-11 3 18-16,10-2-26 0,-10 2 25 0,0 0-24 15,17 0 23-15,-17 0-22 0,13 2 19 0,-13-2-16 16,15 7 24-16,-7-2-25 0,2 0 23 16,0 3-22-16,-1 1 23 0,2 2-19 0,0-1 15 0,-2 2-3 15,2 0-21-15,-2 1 24 0,2 3-20 0,-1 0-2 16,-3-2 8-16,1 0-6 0,0 0 2 0,-1 0 4 15,0 1-4-15,-2-2 11 0,0 0-2 0,-1 1 15 16,-3-1-32-16,2-2 34 0,-2 1-5 0,-1-1 0 16,-1 2 4-16,-2-2 14 0,1 0 5 0,-1 0-11 15,-2-1 1-15,-3 0-8 0,2 0-2 0,-4 0 1 16,-2-1-9-16,1 0 1 0,-1-1 6 0,-1 1 4 16,-2-1-8-16,2 0 6 0,-3-1 5 0,0 1-10 15,0-1-3-15,0-1 1 0,0 0 0 0,0 1-32 16,-2-3 36-16,3 2 2 0,-3-1-5 0,4 0-21 15,-1-1-38-15,2 0-29 0,-1-1-40 0,5 1-45 0,-1-2-68 16,0 0-75-16,10-2-283 0,-13 3-102 0</inkml:trace>
  <inkml:trace contextRef="#ctx0" brushRef="#br0" timeOffset="-116897.65">8548 10129 85 0,'0'0'367'0,"0"0"-89"0,6 3-3 0,-6-3-39 16,4 11-41-16,0-4 4 0,-1 3-22 0,-1-1-2 15,2 3-28-15,0 1-6 0,2 0-31 0,-2 2-7 16,0-1-15-16,0 1-17 0,0-2-10 0,1 2-38 16,-3-4 25-16,3 4-6 0,-1-2 1 0,-1 0 0 15,-2-2-11-15,2 1-8 0,-1 0 9 0,-2-2 3 16,0 0 13-16,0 0-2 0,-2-1-8 0,-1 0-7 15,-1 1 0-15,-2-3-6 0,0 1-4 0,-2 0-3 16,-3-1-2-16,0 1 1 0,-2-2-10 0,-2 1-20 16,2 0 22-16,-5-2 0 0,4 1-1 0,-5 1-1 15,2-3-4-15,-3 2-1 0,-2 0 4 0,3 0-4 16,-4 0 2-16,0 0-2 0,4 0 2 0,0-2-4 16,0 1-2-16,2-1 5 0,-1 0-1 0,4 0 0 0,0-2-2 15,4 2 6-15,-2-2-2 0,2 0 2 16,1 1 2-16,9-3 0 0,-13 2-4 0,13-2-19 0,-14 2-29 15,14-2-53-15,0 0 26 0,-13 0-37 16,13 0 43-16,0 0-28 0,-11-3 39 0,11 3 3 0,0 0 11 16,0 0 5-16,-6-4 8 0,6 4 0 0,0 0 8 15,0 0 1-15,0 0 4 0,-7-2 7 16,7 2-5-16,0 0 1 0,0 0 3 0,0 0 1 0,0 0 0 16,0 0 5-16,0 0 11 0,0 0-5 0,0 0 3 15,0 0-6-15,0 0-5 0,0 0 0 0,0 0-1 16,0 0 5-16,0 0-3 0,0 0 0 0,0 0 1 15,-10 1 1-15,10-1 1 0,0 0 14 0,0 0 3 16,0 0 4-16,0 0-8 0,0 0 5 0,-4 5 3 16,4-5 3-16,0 0 3 0,0 0 0 0,0 0 0 15,0 0 3-15,0 0 2 0,0 0-3 0,0 0 1 16,0 0-14-16,0 0-1 0,0 0-34 0,0 0 4 16,0 0 31-16,-7-4-3 0,7 4-2 0,0 0-3 15,0 0-3-15,-4-4 5 0,4 4-10 0,0 0 1 16,0 0-3-16,0 0 3 0,0 0-8 0,0 0-2 15,0 0 0-15,-3-6-5 0,3 6-1 0,0 0 1 16,0 0 2-16,0 0-1 0,0 0 6 0,1 8 3 16,-1-8-25-16,3 6 46 0,-3-6-31 0,4 7 32 0,-2-1-6 15,2-1 38-15,0 0-28 0,1 2 26 0,0 3 6 16,-1-1 36-16,1 2-27 0,3 3 7 16,-2-3-14-16,-1 3 8 0,2 0-10 0,-1 0-11 0,-2-1-6 15,2 2-7-15,1 1-5 0,-2-2-3 0,0-1-1 16,-1 1-2-16,0 0-5 0,1-3 1 0,-3 1-4 15,-1-1 2-15,2-3-23 0,-2 2-53 0,1-3-18 16,-2-7-46-16,0 12-67 0,0-12-59 0,-4 8-49 16,4-8-31-16,-8 3-452 0,8-3-303 0</inkml:trace>
  <inkml:trace contextRef="#ctx0" brushRef="#br0" timeOffset="-116658.38">7969 10824 124 0,'-4'11'425'16,"3"-2"-99"-16,1 2-25 0,1-3-37 0,0 2-25 15,5-2-17-15,0 2-7 0,3-2-13 0,4-1-42 0,1-1-21 16,1-2-20-16,3-1-23 0,3 0-12 16,0-2-18-16,-1-1-12 0,2-1-8 0,3-2-19 15,0 0 13-15,-3-1-9 0,1 0-2 0,-1-3-5 0,-4 2-1 16,-2-2-1-16,0-2-29 0,-2 2 1 0,-3-3-71 15,1 2 8-15,-6-2-80 0,-1 3-1 0,-1-3-68 16,0 4-16-16,-3 1-61 0,-1 5-359 0,3-12-164 16</inkml:trace>
  <inkml:trace contextRef="#ctx0" brushRef="#br0" timeOffset="-114995.5">8147 10959 123 0,'0'0'418'16,"-3"9"-62"-16,2-3-29 0,1 5-28 0,1 0-2 15,2 6-35-15,-2 1-32 0,3 5-8 0,0 2-31 0,2 4-22 16,1 0-10-16,-1-1-47 0,4 1-2 15,-1-2-38-15,0 0-10 0,1 0-11 0,2-1 8 0,-3-5-26 16,0 0 15-16,0-3-67 0,-3-1-36 0,2-3-90 16,-1-2-30-16,-3-2 10 0,1-3-72 15,-1-2-54-15,-4-5-169 0,5 5-187 0,-5-5-158 0</inkml:trace>
  <inkml:trace contextRef="#ctx0" brushRef="#br0" timeOffset="-114612.89">8134 11014 337 0,'0'-8'381'0,"4"-2"-70"0,0 2-47 15,3-4-33-15,2 0-29 0,4-2-32 0,5-1-64 16,2-2 21-16,2 2-55 0,4-1 16 0,1 2-51 16,-1 1 32-16,1 0-45 0,1 3 24 0,-2-1-45 0,-2 3 33 15,-1 1-41-15,-1 1 33 0,-3 3-45 16,-1 1 35-16,-1-1-40 0,-1 3 46 0,1 2-7 15,-3 2 52-15,0 2-15 0,3 3 57 0,-2 1-3 16,0 4-3-16,1 1 14 0,-1 3-5 0,3 3 1 0,-3-1 7 16,4 3-17-16,-2 2-4 0,5 1-8 0,-1 2-1 15,-3 0-2-15,0-5-22 0,-4 3 0 16,1-1-21-16,-2-1-2 0,0 3-9 0,-4-6 8 0,-3 1-13 16,0-1 0-16,-4 1 9 0,-1-3 8 0,-2 2 2 15,-4-1 23-15,-1 2-8 0,-3-4-12 0,-8 3-2 16,2-1-10-16,-4 0-5 0,-3-3-8 0,-1-2-3 15,-3 0-6-15,-1-2-2 0,1-1-3 0,-4-3-2 16,2 1-2-16,0-3-15 0,2 0-37 0,2-1-30 16,-2-1-21-16,2-1-37 0,0 0-5 0,6-1-43 15,0-2 2-15,4 0-52 0,0 0-11 0,1-2-104 16,3 0-54-16,2-3-66 0,8 4-299 0,-9-9-273 16</inkml:trace>
  <inkml:trace contextRef="#ctx0" brushRef="#br0" timeOffset="-114260.83">9068 10748 480 0,'0'0'383'0,"7"-9"-59"0,-7 9-114 15,5-3 40-15,-5 3-28 0,6 3 34 0,-2 2 40 16,1 2-47-16,4 3-5 0,-3 2-21 0,5 4 10 16,-2 0-32-16,2 3-17 0,-1 0-35 0,2 0-23 15,-2 0-28-15,0 0-12 0,2-1-20 0,-2 0-3 16,-1 0-22-16,0-1 2 0,1 0-14 0,-1-4-32 0,-1-1-88 15,-2-1-41-15,-1-3-45 0,0 1 15 16,-1-2-64-16,0-4-50 0,-4-3-76 0,0 0-66 16,0 0-409-16,0 0-364 0</inkml:trace>
  <inkml:trace contextRef="#ctx0" brushRef="#br0" timeOffset="-113925.84">9085 10768 34 0,'-5'-9'433'16,"1"-2"-79"-16,1 2-69 0,3-1-9 0,2 0-72 15,0-1 23-15,3-1-73 0,3 1 31 0,1-2-76 16,4 0 24-16,1 1-64 0,1 0 22 0,2 0-54 16,2 3 31-16,0-1-46 0,-1 2 27 0,1 0-42 15,0 0 34-15,-1 3-40 0,1 1 53 0,-3 0-32 16,1 1 43-16,-1 1-33 0,-1 2 26 16,-1 0 2-16,2 1 37 0,-1 1-34 0,0 2 31 0,-1 1-27 15,2 1 34-15,-2 0-8 0,1 4 11 0,-1-1-11 16,3 2-6-16,-2 2 11 0,-2-1 5 0,2 2-23 15,-2 2 13-15,1-1-11 0,0 0-8 0,-3-1-17 16,1 3-5-16,-3 0-5 0,1 0 2 0,-1 0-8 16,-2-1-3-16,-2-3 5 0,-1 3-3 0,-2 0 2 15,-1-2-10-15,-2 3 2 0,-4-2-18 0,1-1 9 16,-1 0-11-16,-3 1 7 0,1-2-10 0,-6 1 8 0,0 0-10 16,-1-1 3-16,-1-4-28 0,-2 2-55 15,3-4-39-15,-1 2-55 0,-1-3-25 0,1 0-48 16,1 0-2-16,-1-1-93 0,3-2-42 0,1 1-75 0,-2-2-434 15,4 1-444-15</inkml:trace>
  <inkml:trace contextRef="#ctx0" brushRef="#br0" timeOffset="-113097.7">8786 11539 165 0,'-10'-5'503'0,"2"0"-54"15,-1 2-83-15,9 3-65 0,-10-8-69 0,10 8-49 16,-9-2-40-16,9 2 48 0,0 0 10 0,-5 6-35 16,6 0-4-16,0 1-31 0,3 3 6 0,0 0-29 15,1 5 0-15,0 1-17 0,5 1-14 0,-3 2-11 16,-1-1-12-16,2 1-8 0,-3 1-9 0,4-1-5 15,-4 1-4-15,-1-3 2 0,-2 1 1 0,1-2-6 16,-3 0-9-16,1-3 5 0,1 1-13 0,-2-1 13 0,0-2-15 16,0 0 10-16,0-2-9 0,-2-1 16 15,2 0-14-15,0-8 17 0,0 11-20 0,0-11 2 16,3 8-5-16,-3-8 7 0,0 0-37 0,11-2-8 0,-11 2-3 16,17-6-6-16,-7 2-17 0,4-2 0 0,3-2-16 15,2 0 3-15,3 1-2 0,4-4 1 16,1 1-33-16,4 0 42 0,-2 0-23 0,3-1 36 15,0 3-29-15,8-3 48 0,-2 0-28 0,2 1 49 0,1 0-37 16,-8 2 46-16,3 0-36 0,-3 0 44 0,-1-1-37 16,0 1 43-16,-1 2-36 0,-7-1 36 0,0 0-35 15,-3 0 40-15,-1 2-38 0,-2-1 39 0,-4-1-13 16,1 3 74-16,-2-3-26 0,-1 0 14 0,-2 0-43 16,-3 0 38-16,1 0 2 0,-1-1 11 0,-1-2-30 15,-2-1 40-15,-3 0-28 0,2-1-15 0,-1-2-6 16,-3 0-4-16,0-3 0 0,-2-2-7 0,2 1 18 15,-3-5-21-15,-2-1 6 0,1 1-20 0,-2-1 11 16,1-5-10-16,-3 3 24 0,0-1 2 0,1 6 24 16,-1 0-18-16,0 2 31 0,3 1-20 0,-2 2 1 15,3 3-20-15,-1 1 4 0,-1 1-27 0,4 2-62 16,-3 0-75-16,1 3-37 0,5 6-49 0,-9-8-101 16,9 8-51-16,-9-3-98 0,9 3-351 0,0 0-350 15</inkml:trace>
  <inkml:trace contextRef="#ctx0" brushRef="#br0" timeOffset="-111126.44">9588 11560 286 0,'0'0'405'0,"7"9"-30"15,-5 1-20-15,2 3-34 0,3 5-40 0,-1 2-33 16,2 8-42-16,2-1-28 0,-1 2-17 0,1 1-25 15,3 5-21-15,-2 0-23 0,3-1-16 0,-1 0-27 0,-3-5 9 16,4 6-25-16,-2-6 18 0,-1-1-71 0,1-2-54 16,-2 0-47-16,-2-3-54 0,-1-3-10 0,1 1-70 15,-4-2-34-15,1-2-91 0,-2-3-225 16,-2-2-116-16</inkml:trace>
  <inkml:trace contextRef="#ctx0" brushRef="#br0" timeOffset="-110880.12">9595 12207 165 0,'-8'5'497'0,"3"5"-116"0,1-3-40 16,2 4-92-16,0-3 9 0,4 3-76 0,-1-1 31 15,3 1-59-15,2-2 16 0,3 2-28 0,0-3-19 16,3 2-3-16,1-3-9 0,3 1-10 0,0-1-15 16,1-4-16-16,2 1-11 0,0-1-10 0,1 0-8 15,0-3-22-15,-1-2 17 0,2 1-23 0,-4-3 14 16,0 0-18-16,0-1 16 0,-2-1-19 0,-2-2 15 15,-2-1-16-15,-2-1 0 0,1 0-2 0,-3-1-16 0,1 0-24 16,-3 3-55-16,-1-2-47 0,1 3-60 16,-3 1-52-16,-2 6-22 0,4-7-46 0,-4 7-430 0,0 0-259 15</inkml:trace>
  <inkml:trace contextRef="#ctx0" brushRef="#br0" timeOffset="-110262.16">10163 11995 520 0,'0'0'383'16,"0"0"-51"-16,0 0-119 0,0 0 86 0,-6 2-23 16,6-2 3-16,0 14-35 0,1-3-5 0,2 0-24 0,1 5-14 15,0 2-4-15,1 4-18 0,1 0-10 16,2 2-21-16,1 3-24 0,1 0-34 0,0-1-6 15,2 0-22-15,-2-1-2 0,3 2-19 0,-2-5-6 16,-1-1-81-16,-2-3-48 0,1-4-57 0,-4 0-40 0,3-2-60 16,-3-5-9-16,-3 0-106 0,-2-7-109 0,6 5-333 15,-6-5-339-15</inkml:trace>
  <inkml:trace contextRef="#ctx0" brushRef="#br0" timeOffset="-109903.59">10171 11991 67 0,'5'-12'499'0,"4"1"-115"0,1 0-42 0,6-2-71 16,-1 1-42-16,4-1-45 0,-1 0-25 0,5 0-3 15,3 2-36-15,-1-1-20 0,2 2-19 0,0 0-11 16,1-1-11-16,-5 5-17 0,3-1-9 0,-2 1-7 16,-1 3-9-16,-1 0-4 0,-2 1 20 0,-1 2 18 15,0 3-10-15,1 0 7 0,-2 1 34 0,2 4 0 0,-3 2 3 16,2 2 10-16,-1 1 0 0,2 3 27 15,-1 1-8-15,-2 2 16 0,2 0 5 0,0 2-12 16,-1-2-6-16,0 1-15 0,-1 0-4 0,-1 0-4 16,2 0-48-16,-4 1 39 0,-1-5-11 0,0 1-16 0,-3-1-4 15,-1-1-2-15,-2-1 12 0,0 0-9 16,-3-1-8-16,-3-2-6 0,-1 3-5 0,-4-4-3 16,-1 3-9-16,-5 0 0 0,-2-1-5 0,-2 1-2 0,-5 0-6 15,0-1 1-15,-3 0-17 0,-5 0 13 0,1-3-25 16,-1 2-50-16,0-1-62 0,0 0-73 0,3-2-34 15,1 0-75-15,0-2-25 0,0 1-65 0,4 1-84 16,1-4-476-16,1 0-547 0</inkml:trace>
  <inkml:trace contextRef="#ctx0" brushRef="#br0" timeOffset="-102123.22">8137 9245 361 0,'0'11'470'0,"1"2"-71"0,-1 1-44 0,0 3-37 15,0 1-34-15,1 2-39 0,-1-2-40 0,0 0-25 16,0-2-22-16,1 2 1 0,1-1-14 0,-1-2-25 16,-1 0-22-16,0-1-17 0,4 0-11 0,-7-3-11 15,6 2-7-15,-3-3-8 0,1 0 10 0,-1-2 43 16,0 0 36-16,1-2 33 0,-1-6-6 0,-1 9-37 15,1-9-26-15,0 0-18 0,-9 4-17 0,3-8-16 16,-1-2-5-16,1 0-12 0,-4-5-7 0,-1-4-9 16,1-5-46-16,-2-6-12 0,-1-1 3 0,0-7 10 15,0 0-1-15,3 3 12 0,0 2-3 0,2-1 9 16,0 3-10-16,3 3 9 0,1 1-1 0,1 5 2 16,0 1 12-16,3 4 20 0,1 1 2 0,2 3 0 0,2 0 54 15,0 4 6-15,-5 5-7 0,13-2 26 16,0 3-18-16,-2 3-10 0,2 3-14 0,5 4-23 0,0 1 11 15,4 3-29-15,-1 2 21 0,2 1-23 0,-1 1 18 16,5 3-30-16,0 3 28 0,-2-2-21 16,-5-2-69-16,0 1-56 0,0 0-95 0,-4 1-51 15,0-2-43-15,-4-2-88 0,-4 0-86 0,-1-1-95 0,-4-2-362 16,-3-1-514-16</inkml:trace>
  <inkml:trace contextRef="#ctx0" brushRef="#br0" timeOffset="-101995.22">8181 9536 459 0,'-1'-10'455'0,"0"-1"-76"16,2 3-97-16,0-3-21 0,3 0-45 16,5-2-39-16,0 1-33 0,5-1-32 0,0-1-15 0,3 1-25 15,1 1-107-15,2 1-102 0,6-2-130 0,-1 1-435 16,1 0-210-16</inkml:trace>
  <inkml:trace contextRef="#ctx0" brushRef="#br0" timeOffset="-99947.63">7462 10904 435 0,'0'0'386'16,"-7"-7"-35"-16,7 7-52 0,-3-7-66 0,3 7-56 0,-4-5-47 16,4 5-38-16,0 0-24 0,0 0-9 0,0 0-6 15,0 12 33-15,1-4 12 0,3 4-13 0,0 3-13 16,1-1-2-16,0 1 13 0,4 3-10 0,-3 0-11 15,1 2 1-15,-1-2 0 0,3 0-7 0,-1 0 10 16,-2 0-2-16,-1-2-2 0,3 0-10 0,-2-1-9 16,-2-1-6-16,1-2-5 0,-1 0-5 0,1-3-1 15,-4 1 5-15,2-3 12 0,1 2 23 0,-2-3 49 16,-2-6 35-16,3 11 7 0,-3-11-31 0,1 7-22 16,-1-7-24-16,0 0-16 0,0 0-14 0,-13-6-10 15,8-3-42-15,0 1-6 0,-1-5-16 0,-1-3-18 16,0-4 1-16,-1 1 2 0,2-4-1 0,-1-1 4 15,2 0 6-15,-1 0 3 0,2 1 2 0,0 2 3 16,3 1 2-16,-2 2-7 0,3 3 12 0,0 0-12 0,0 2 10 16,0 3-10-16,3 1 12 0,-2 3 4 15,-1 6-1-15,7-7 8 0,-7 7-3 0,0 0 2 16,12 2 2-16,-5 2 2 0,-2-1-7 0,1 3 2 16,3 0 4-16,0 0-2 0,3 1 3 0,0 1-2 15,2-1 2-15,3 1-1 0,0-1 0 0,2 3-3 0,0-2 6 16,0 3-3-16,1-1 3 0,-1 1-5 15,-3-2 2-15,1 2 0 0,-5-2 3 0,-1 4 0 0,-2-2 0 16,-3-1-1-16,-5 2-1 0,-2-1 3 0,-5 2 6 16,-2 1 7-16,-2-3 18 0,-4 3 13 0,-2-2-2 15,0-3 4-15,-1 2-6 0,-2-3 2 0,2 1-8 16,1-2-6-16,2-1-2 0,0 0-6 0,2-1-5 16,1-2-7-16,2 1-97 0,1 0-96 0,1-1-48 15,7-3-18-15,-6 4-71 0,6-4-123 0,0 0-460 16,13-3-467-16</inkml:trace>
  <inkml:trace contextRef="#ctx0" brushRef="#br0" timeOffset="-98976.77">9084 10275 467 0,'-3'-8'521'0,"3"8"-136"0,0-10-97 0,0 10-53 16,0 0-8-16,0 0-5 0,5 5-25 0,-1 3-23 15,1 1 3-15,-1 4-30 0,3 0-20 0,1 3-20 16,0 2-19-16,2 0-14 0,0 0-13 0,1 1-20 16,0 0 3-16,1 1-8 0,2 2 8 0,0-1-19 15,-4-3-3-15,5 0-55 0,-5-1-58 0,2 0-53 16,-2-1-35-16,-1-2-63 0,-1-2-32 0,-3-2-55 0,1-1-48 16,-2-2-265-16,-4-7-155 0</inkml:trace>
  <inkml:trace contextRef="#ctx0" brushRef="#br0" timeOffset="-98699.74">8890 10448 193 0,'-12'-1'510'0,"2"0"-81"0,10 1-51 0,-18-3-48 16,18 3-54-16,-12-1-49 0,12 1-50 0,-9-3-42 15,9 3-26-15,0-7-13 0,4 3-10 0,5-4-6 16,5-2-8-16,4-3-4 0,5-1-1 0,8-5 1 15,1-1-7-15,1-2-3 0,0 0-5 0,2 1-3 16,-1 0-5-16,-2 0-5 0,-1 2 5 0,-2 0-1 16,-3 4 1-16,-3-1 5 0,-7 5 26 0,2 1 18 15,-5 1 0-15,0 1 2 0,-3 0-10 0,-1 3-8 16,0-1-22-16,-3 1-12 0,-2 0-18 0,0 0-49 16,-4 5-68-16,0 0-34 0,4-4-67 0,-4 4-19 15,0 0-84-15,-8 3-37 0,8-3-68 0,-9 9-473 16,5-3-426-16</inkml:trace>
  <inkml:trace contextRef="#ctx0" brushRef="#br0" timeOffset="-97451.25">7477 9517 53 0,'0'0'415'0,"0"0"-80"0,-8-4-89 15,8 4 3-15,0 0-63 0,0 0-19 0,0 0-18 16,0 0-6-16,0 0-18 0,0 0-15 0,0 0-11 16,0 0-10-16,0 0 22 0,0 0 36 0,-5-5 5 0,14 0-8 15,0-2-20-15,2-1-19 0,5-6-21 16,2 1-12-16,4-4-13 0,2 1-8 0,-1-1-11 16,-1-1-2-16,2 0-23 0,-1 1-80 0,-1-1-70 0,-3 2-95 15,-1 3-72-15,-3 2-121 0,-2 1-324 0,-3 3-258 16</inkml:trace>
  <inkml:trace contextRef="#ctx0" brushRef="#br0" timeOffset="-97067.67">7108 11328 264 0,'-3'6'557'0,"3"-6"-164"16,-5 7-39-16,5-7-79 0,0 0-22 16,0 0-85-16,8-11-3 0,1 4-63 0,6-6 2 0,7-5-14 15,6-5-24-15,5-2-101 0,10-7-127 0,1-1-139 16,3-2-428-16,1 0-234 0</inkml:trace>
  <inkml:trace contextRef="#ctx0" brushRef="#br0" timeOffset="-96806.66">9052 10397 132 0,'6'-5'481'0,"0"-2"-140"0,3-1-63 0,2-1-80 16,0-1-117-16,6-1-106 0,-2-1-134 0,4-2-262 15,3-1 116-15</inkml:trace>
  <inkml:trace contextRef="#ctx0" brushRef="#br0" timeOffset="-95265.84">8400 8679 296 0,'-7'-10'307'16,"0"0"-40"-16,-2 1-77 0,0 0 11 0,-4 0-61 0,2 1 25 15,-3 0-54-15,-2 2 3 0,0 1-43 16,-2 0 9-16,-3 2-37 0,1 1 13 0,-3 0-32 16,-5 4 19-16,0 0-28 0,-7 1 22 0,3 5-26 15,-4-1 24-15,-3 6-26 0,-1 0 20 0,-1 4-32 0,2 2 28 16,-1 3-29-16,-1 1 24 0,-5 4-23 0,1 5 6 15,1 2-5-15,1 1 1 0,1 3-2 16,1 1 0-16,3 2-20 0,2 3 37 0,2 3-6 0,2 1-7 16,1 2-3-16,4 3 29 0,3 1-30 0,1 1 23 15,5 2-24-15,0-1 6 0,4 3-5 16,3-1 0-16,3-6-19 0,2 3 35 0,2 0-4 0,0 1-5 16,3 3 8-16,-2 0-10 0,3-1-2 0,0 11 1 15,3-3 24-15,-1-8 5 0,2 7-2 0,1-1-15 16,0-8 21-16,3 6-31 0,3-1 30 0,1-1-36 15,2-2 47-15,0-2 1 0,4 0-41 0,0-2 41 16,2-4-10-16,1-9 5 0,1 0-30 0,2-4 40 16,8 3-45-16,-4-6 36 0,8 3-36 0,2-3 40 15,-1-7-35-15,8 4 40 0,3-5-43 0,2 1 27 16,1-5-28-16,4 0 38 0,0-3-33 0,3-1 48 16,1-2-34-16,-7-3 23 0,3-3-30 0,9 3 8 15,-7-6 20-15,10 1-31 0,-7-2 28 0,1-1-35 16,0-3 24-16,2 1-25 0,-3-3 19 0,3 0-25 0,-3-1 25 15,0-3-23-15,-3 2 13 0,0-4-19 16,-1 0 24-16,-1-2-27 0,0 0 24 0,0-2-26 16,-3 1 24-16,0-3-23 0,9-4 22 0,-4-2-2 0,-8 2 2 15,-1 0-10-15,4-6 1 0,-7 5-5 0,5-8 1 16,-10 2 3-16,6-7 3 0,-3 1-7 0,-2-5-20 16,0-2 28-16,-4-4-25 0,-1-2 3 0,-3-2 10 15,-1-3-1-15,-4-5 19 0,-4 0-23 0,-1-6 22 16,-3-1-9-16,-4-5-1 0,-4 1 1 0,-3 0-3 15,-4 8-23-15,-3-1 24 0,-3 0-6 0,-4 0 4 16,-1-9-22-16,-6 3 22 0,-2 2-2 0,-3-1-5 16,-3 0 0-16,-4 1 18 0,-4 0 25 0,-3 2 2 15,-2 0 2-15,-4 1-7 0,-4 1-1 0,-4 1-2 16,-1 1-9-16,-4 1 15 0,-2 1-16 0,-2 2 10 16,-2 1-2-16,-3 1 10 0,0 4-7 0,-2 3-1 15,-3 2 1-15,-1 5-4 0,-3 2-2 0,0 6-4 16,-4 3-5-16,-1 4-1 0,0 5-3 0,-3 3-1 0,2 5-4 15,0 3-12-15,-1 6-12 0,-2 3-40 16,4 5-31-16,-1 3-48 0,0 5-32 0,2 3-56 16,2 4-57-16,1 7-55 0,5 3-76 0,3 3-347 15,2 5-271-15</inkml:trace>
  <inkml:trace contextRef="#ctx0" brushRef="#br0" timeOffset="-89452.58">10214 11610 130 0,'-11'-7'525'0,"2"0"-120"0,1 0-34 16,2 1-80-16,-3 1 14 0,3-1-47 0,-1 2-36 15,7 4-63-15,-11-8-23 0,11 8-47 0,-8-6 1 16,8 6-44-16,0 0 13 0,-6-4-37 0,6 4 20 16,0 0-29-16,0 0 0 0,2 5-1 0,-2-5 21 15,7 12-27-15,-3-7 24 0,3 5-5 0,0 0-6 16,-1 2-15-16,1 0-44 0,1 1-34 0,0 1-57 16,1 2-23-16,4 1-32 0,-3 1-22 0,2-1-31 15,0 0 0-15,1-1-58 0,4 0-245 0,-3-1-52 16</inkml:trace>
  <inkml:trace contextRef="#ctx0" brushRef="#br0" timeOffset="-88949.58">11141 11912 200 0,'12'2'505'16,"-12"-2"-67"-16,0 0-48 0,0 0-50 0,0 0-36 16,10 1-37-16,-10-1-30 0,0 0-25 0,0 0-37 15,0 0-37-15,10-4-35 0,-10 4-20 0,13-7-16 16,-5 0-14-16,3 1-11 0,3-3-9 0,4-1-7 16,4 0-6-16,1-4 3 0,2 3-6 0,2 0-5 15,1-1 4-15,-1 1-11 0,4 0-34 0,-2 1-30 16,-1 0-10-16,2 0-13 0,-2 2-8 0,-5 0-4 15,0 0 10-15,-3 0-41 0,-2 0 52 0,0 3 3 16,-4-1 6-16,0 0 14 0,-2-1 11 0,-2 1 4 16,0-1 15-16,-2 0-6 0,-2-1 8 0,2 2 1 15,-3-4 4-15,-3 3-26 0,1-1 33 0,-3-2-25 16,0 3 62-16,0-3-14 0,0 2 32 0,-3-2-23 16,1 1 52-16,-1-1-5 0,1 2 0 0,-2-2-14 0,0 1 36 15,3 0-32-15,-2 3 13 0,2 0-36 0,0-1 2 16,1 7-32-16,-3-8 21 0,3 8-31 15,0 0 22-15,9-3-24 0,-9 3 19 0,12 6-25 16,-6 0 24-16,3 1-24 0,0 1 21 0,2 3-22 0,1 0 22 16,1 3 8-16,-2 1-16 0,-2 1 4 0,-2-1-3 15,0-1 1-15,0 1 1 0,-4 0 0 16,0 0 0-16,0 1-3 0,-3-3 6 0,-3 1-1 0,2 2-1 16,-2-3-20-16,-2-1-41 0,1 0-38 0,3-3-30 15,-3 0-45-15,-1-2-56 0,1-1-56 0,-1-1-62 16,5-5-367-16,-6 5-209 0</inkml:trace>
  <inkml:trace contextRef="#ctx0" brushRef="#br0" timeOffset="-87315.52">12359 11485 10 0,'-5'-4'452'0,"5"4"-67"0,-9-7-67 16,5 2-17-16,0 1-69 0,-3 0 20 0,7 4-45 15,-8-8-4-15,8 8-1 0,-9-7-45 0,9 7-17 0,-5-7-47 16,5 7-9-16,-6-3-47 0,6 3 13 0,0 0-35 16,0 0 22-16,0 0-28 0,8 3 17 15,1 4-25-15,3 1 19 0,5 3-22 0,-2 2 20 16,5 3 2-16,2 4-7 0,-4-1 8 0,4 2-6 0,-1 6 1 16,-4-3 1-16,0 0-2 0,-4 0-1 0,-2 2-4 15,-3-4 2-15,-3-1-1 0,-1 1-20 0,-4-2 25 16,-2-1 1-16,0-2-11 0,-5 0 7 0,1-2-1 15,-4-2-2-15,-1-2-1 0,1-2 1 0,-2-1 0 16,0-5-3-16,-2-1 1 0,2-4 0 0,1 0-3 16,-3-4-2-16,1-2 0 0,-1-2-1 0,3-3-2 15,-1-3 4-15,-1 0-4 0,3 0 0 0,2-4 4 16,-2-1 18-16,4-1-1 0,-1 1-7 0,2-4-16 16,1-1 17-16,1 1-16 0,0-3 14 0,1-3-14 15,-2-1 13-15,1 5-1 0,1 0 25 0,-2 1 10 16,0 1 4-16,-1 3 5 0,-3 0-6 0,2 2-7 15,-3 4-10-15,-3 2-7 0,-2 1-6 0,1 5-8 16,-3 3-3-16,-2 3-2 0,-1 2 0 0,-2 3-9 0,0 4 8 16,0 1-8-16,1 2 13 0,3 0-12 15,0 3 2-15,5 1 0 0,0 0 15 0,6 0-16 16,2 1 14-16,3 1-13 0,1-3-14 0,3 3-34 16,5-2 8-16,2 2-55 0,2 0-21 0,2-1-28 0,3-4-28 15,2 1-42-15,-1-2-23 0,2 0-41 0,4-6-17 16,-4 0-51-16,1-4-308 0,1-1-164 15</inkml:trace>
  <inkml:trace contextRef="#ctx0" brushRef="#br0" timeOffset="-87133.53">12538 11306 93 0,'13'-17'564'0,"-4"0"-132"0,0 6-69 16,-3 0-84-16,3 3-69 0,-4 1-44 0,2 4-15 16,-7 3 18-16,10 1-17 0,-10-1-12 0,10 11 0 15,-5-2 3-15,0 5-32 0,2-1-6 0,-2 2-29 16,2 3-13-16,0 3-11 0,-1-1 7 0,1 3-26 15,0-2 12-15,2 6-21 0,0-1 13 0,0-1-20 16,0-2 15-16,-4 0-34 0,1 0-64 0,0 0-33 16,-2-3-51-16,-2-1-52 0,1-2-40 0,-1 0-44 15,-1-5-54-15,-1 0-381 0,0-4-226 0</inkml:trace>
  <inkml:trace contextRef="#ctx0" brushRef="#br0" timeOffset="-86720.98">12615 11357 175 0,'0'0'293'15,"-3"-8"-28"-15,3 8-17 0,-5-5-4 0,5 5-30 16,0 0-46-16,0 0-44 0,-4-4-24 0,4 4 1 15,-7 7-16-15,1-3 53 0,1 6-44 0,-1-2-16 16,2 6 36-16,0-1-18 0,2 2 36 0,-1 0-44 16,3-1 12-16,3 2 3 0,1 0 26 0,-1-1-40 15,6 0 7-15,-2-1-27 0,4 0 11 0,3 1 9 16,0-5 2-16,4 2-24 0,0-4 2 0,1 0-5 16,-2-3-10-16,2-1-9 0,-1-3-3 0,-4 0-7 15,2-1-13-15,-1-2 16 0,0-2-7 0,-4-2 8 16,1-3-17-16,-2 0 9 0,-3-2-13 0,-4-3 5 0,0 2-10 15,-3-3 4-15,-4 0-13 0,0-3 8 16,-2 3-10-16,-3-3 6 0,-1 2-18 0,-2 1 14 16,-4 2-12-16,0 1 11 0,-3 2-13 0,5 3 9 0,-4 2-4 15,2 2 11-15,2 0-45 0,1 3-62 0,-1 2-61 16,1-1-27-16,0 1-56 0,4 2-26 16,-1 1-54-16,2-2-19 0,8-3-73 0,-5 7-261 0,5-7-188 15</inkml:trace>
  <inkml:trace contextRef="#ctx0" brushRef="#br0" timeOffset="-86534.98">12929 11209 296 0,'12'-10'692'15,"-2"3"-125"-15,-4 1-96 0,3 1-92 0,-2 2-95 16,-7 3-56-16,12-5-37 0,-12 5 62 0,13 3-16 16,-6 1-42-16,-1 2-37 0,4 1-28 0,-2 3-29 15,1 2-8-15,1 0-18 0,0 5-13 0,-1-1-10 16,2 0-8-16,-1 1-97 0,-1 1-50 0,-1 0-55 0,-1 1-74 15,-2-2-26-15,-3 0-77 0,0-2-20 16,-2-2-25-16,0-1-87 0,-3-1-220 0,-2-2-192 16</inkml:trace>
  <inkml:trace contextRef="#ctx0" brushRef="#br0" timeOffset="-86450.98">12978 11426 256 0,'-8'-8'421'0,"2"-2"-104"0,-1 2-50 0,3-2-80 15,2 2-70-15,-2-3-107 0,4 1-111 0,1-1-139 0,4 1-153 16,-2-1 153-16</inkml:trace>
  <inkml:trace contextRef="#ctx0" brushRef="#br0" timeOffset="-86326.42">13357 11283 244 0,'13'2'305'16,"-4"0"-80"-16,-9-2-46 0,17 2-33 0,-17-2-42 15,14 4-82-15,-14-4-119 0,11 7-260 0,-11-7 187 16</inkml:trace>
  <inkml:trace contextRef="#ctx0" brushRef="#br0" timeOffset="-86145.87">12814 11997 4 0,'-23'19'705'16,"1"-2"-116"-16,3-3-81 0,5-2-23 0,0-3-45 0,4 0-61 15,3-4-72-15,7-5-61 0,0 0-49 16,0 0-38-16,20-8-27 0,0-1-31 0,8-3-13 15,9-4-23-15,4 0-14 0,2-2-80 0,1 0-72 0,1-1-93 16,-4 1-80-16,0 0-114 0,-4 2-98 0,-3-1-450 16,-8 3-511-16</inkml:trace>
  <inkml:trace contextRef="#ctx0" brushRef="#br0" timeOffset="-85974.86">12828 12359 53 0,'-18'19'665'0,"2"-2"-140"15,4-4-33-15,2-2-52 0,0 0-51 0,5-5-87 16,5-6-37-16,0 0-50 0,0 0-24 0,15-3-38 16,3-8-20-16,6 0-36 0,8-6-8 0,4-2-24 15,2-2-1-15,0-1-21 0,2 0-58 0,0-2-96 16,-1 1-42-16,-3-1-130 0,0 1-91 0,-3-3-141 16,-3-3-345-16,-4 0-409 0</inkml:trace>
  <inkml:trace contextRef="#ctx0" brushRef="#br0" timeOffset="-84253.96">7629 9252 134 0,'-1'-16'227'15,"0"2"-55"-15,-2 0-34 0,-2-2-33 0,1 2 9 16,0 0 44-16,-1-1-32 0,0 1-27 0,1-1-12 16,-1 2-14-16,-2 0-2 0,0 0 27 0,2 0-21 15,0 3 2-15,0-1-31 0,-3 3 6 0,3-1-32 0,1 3 9 16,-2 1-29-16,6 5 24 0,-21-1-29 0,7 6 21 15,-6 3-20-15,-7 5 0 0,-5 7 12 0,-4 1-9 16,-1 6 6-16,-9 3-1 0,-1 1-8 16,0 2 25-16,-1-3-29 0,4 3 18 0,-1-1-23 0,0 0 23 15,9-6-21-15,1 0 18 0,0 2-16 0,0-2 19 16,3 2-24-16,3-4 17 0,1 2-21 0,1-3 15 16,3 1-16-16,6-3 25 0,0 0-23 0,4 1 1 15,0 0 3-15,4-2 1 0,1 2 0 0,3-1-1 16,3 3-10-16,2 4 21 0,2 4 2 0,5 8-4 15,3 4-2-15,4 3 2 0,9 10 4 0,3 4 16 16,1 1-20-16,7 3 19 0,4 2-23 0,8 15-3 16,6 1 15-16,-1 3-4 0,5 2 24 0,0 0-28 15,1-5 18-15,3 0-21 0,-2-4 25 0,2-1 31 16,-1-2 18-16,2-2-7 0,-1 2 62 0,-2 0-15 0,2-1-4 16,-3 2 2-16,0 1 2 0,-6 0-14 15,1 0 14-15,-1 0-11 0,-10-13-18 0,6 13-20 16,1 2 19-16,-11-12 2 0,10 15-15 0,-12-15-7 0,1-1-9 15,-1-2-5-15,-2-2-10 0,-1-3-3 16,-2-4-7-16,2-3-3 0,-3-6-6 0,-4-8-13 0,-3-4 13 16,-1-3-18-16,1-3 16 0,-6-6-17 15,2-4 16-15,-5-3-17 0,0-4 20 0,1-1-14 0,-2-7 14 16,6-1-20-16,1-5 5 0,6-3-6 0,7-9-23 16,7-4 9-16,4-2-11 0,8-10 1 15,8-1 0-15,0-4 6 0,5 0 2 0,5-2 2 0,6 1 6 16,19-5-2-16,4 2 7 0,2 1-3 0,4 3 2 15,1 3-30-15,-1 5 16 0,3 1-26 0,-14 9-16 16,1 2 12-16,2 3-59 0,-3 3 13 0,-3 4-58 16,-3 3 23-16,-3 2-56 0,-5 4-13 0,-5 2-41 15,-14-1-82-15,-6-1-225 0,-4 1-61 0</inkml:trace>
  <inkml:trace contextRef="#ctx0" brushRef="#br0" timeOffset="-83597.78">10741 7807 216 0,'-6'-10'192'0,"2"-1"-20"16,3 2-46-16,2-2 16 0,5 2-32 0,3-2 10 0,3 0-39 16,4 0-17-16,6 0-10 0,1 3-11 0,5-1-11 15,4 3-10-15,0 5 0 0,-1 1-9 16,7 3 22-16,7 5-30 0,-3 3 19 0,1 5-28 0,0 4 25 15,5 7-9-15,-3 5 0 0,-2 2 0 0,0 5-9 16,-5 3-2-16,0 5-20 0,0 1 26 0,0 5-20 16,-4 4 11-16,1 7 4 0,-1 2 25 15,-2 6-27-15,8 14 26 0,-5 1-26 0,4 1 27 0,-1-2-30 16,6 3 3-16,-2 1-1 0,5 2 12 0,3 2 20 16,5 1-25-16,1-1 19 0,4 0-24 0,4 0 25 15,0-1-29-15,1 1-10 0,2-2 20 0,-1-1 24 16,-2-4-30-16,0-4 26 0,1-5-30 0,-6-7 25 15,-12-14-16-15,0-2 46 0,-6-5-8 0,-4-2 2 16,-3-5 5-16,-11-8 0 0,-3-1 34 0,-8-7 13 16,-6 2 72-16,-7-4-53 0,-8 4 23 0,-13 4-46 15,-5 1 12-15,-16 5-15 0,-8 0-19 0,-7 1-16 16,-8 1-5-16,-20 3-57 0,-3 3-76 0,-3-3-97 16,-3 0-84-16,-1 0-106 0,2-1-322 0,-2-1-198 15</inkml:trace>
  <inkml:trace contextRef="#ctx0" brushRef="#br0" timeOffset="-63998.57">16538 10954 148 0,'0'0'248'0,"-6"-4"-96"0,6 4 1 15,-5-5-50-15,5 5 20 0,-7-5-53 0,7 5 31 16,0 0-23-16,-3-7 30 0,3 7-31 0,-2-6 45 16,2 6-27-16,-1-8 2 0,1 8-46 0,0-7-6 15,0 7 4-15,0-8-4 0,0 8-4 0,1-7-8 16,-1 7-8-16,0-7 4 0,0 7 4 0,2-7-9 0,-2 7-3 15,0 0-7-15,0 0-14 0,0-7-13 0,0 7-2 16,0 0-3-16,0 0 2 0,1 6 26 0,-1-6-27 16,0 16 30-16,-1-4 13 0,1 4 35 15,-2 1-35-15,0 8 45 0,-2 0 9 0,0 7 1 0,-3 1-16 16,0-1 10-16,1 3-28 0,-2 3 57 0,0 0-32 16,-2 1 18-16,1-2-38 0,1 0 19 0,-1 0 5 15,-1-4 3-15,4 0-15 0,-2-1-10 0,0 0-14 16,1-1-3-16,-1 1-4 0,0-3-10 0,2 2 0 15,-3-5-4-15,3 2-2 0,-1-4-6 0,2-1 0 16,0-3 3-16,-3 1-1 0,5-5-35 0,-1 1-46 16,1-3-32-16,-2-3-25 0,4 0-17 0,-2-1-4 15,2-3-45-15,1-7-75 0,-1 8-93 0,1-8-286 16,0 0-154-16</inkml:trace>
  <inkml:trace contextRef="#ctx0" brushRef="#br0" timeOffset="-62875.68">16341 11069 187 0,'-6'-12'458'0,"2"-1"-132"16,-1 1-53-16,2 3-27 0,2-1-24 0,-3 3-26 0,2-2-19 16,-1 4-48-16,3-1-30 0,0-2-29 0,3 2-17 15,3-1-12-15,4-1-7 0,7 2-10 0,2-3-5 16,7 2-4-16,7 1-1 0,4 0-3 0,6 0-2 15,6 3 6-15,0-2-3 0,3 0-4 0,2 1 0 16,2 2 0-16,3-2-3 0,1 2 7 0,1-1-1 16,1-1-6-16,0 1-2 0,1 0 4 0,-2 0-1 15,-1 1-1-15,-2-1-1 0,-1-1 4 0,-3 0-5 16,-3 1 5-16,0 0-8 0,-4 0 1 0,-6 0 1 16,-4-2-1-16,-1 3 3 0,-1 0-8 0,-6-1 0 15,-1 1 3-15,-2 0-2 0,-1-1 11 0,-1-1-5 0,-3 3 13 16,1-1-3-16,-2 1-2 0,-2-1 9 15,1 1 8-15,2 0 1 0,-5 0-11 0,1 0-5 16,-3 1-2-16,1-1 0 0,-2 1 1 0,-1-2-4 16,-12 2 6-16,23 0-10 0,-23 0 0 0,21 0 3 0,-21 0-4 15,19 0 2-15,-19 0-3 0,17 2 2 16,-17-2-3-16,15 0 0 0,-15 0-2 0,13 2 1 16,-13-2-1-16,13 1 2 0,-13-1 4 0,11 4-7 0,-11-4-2 15,11 5 4-15,-6 2 2 0,-1-1-4 0,1 1 1 16,-2 2 0-16,0 1-2 0,0 2 5 15,-1 5-3-15,-2 0 2 0,0 1-3 0,0 2 8 0,0 4 10 16,0 3 32-16,1-1 9 0,2 2-10 0,0 2 18 16,2 4-3-16,-1-1-24 0,3-1 6 15,-2 0-21-15,0 2 16 0,1-1-28 0,-4-4 15 0,2 4-7 16,0-7-4-16,-2 2-4 0,-2-1 0 0,0-1-3 16,0-1 0-16,-2-2 1 0,-2 2-3 0,3-6-2 15,-2-1 1-15,1 0 32 0,-1-1 22 0,-1-1-1 16,-4-2-1-16,2 0 10 0,-4 0-3 0,0-3-11 15,-3-1 2-15,1-1 0 0,0 0-7 0,-5-2-4 16,3-2-9-16,-4 1-2 0,1-1-7 0,-2-2-4 16,0 0-5-16,0-2 0 0,-3 2-5 0,1-2-6 15,1 0 3-15,-3 0 0 0,-5 0-3 0,0-1-3 16,1 2-1-16,-3-2 0 0,0 1-9 0,-2 0 9 16,-5 0 0-16,1 0-2 0,-1 2 2 0,-1-2-2 15,0 3-1-15,1-2 2 0,-2 2-1 0,1-2 1 16,2 1 0-16,-1 0 1 0,3 0 2 0,0 0-17 15,4 1-19-15,0-2-3 0,2 0 1 0,0 2-6 16,1-1-6-16,0 0-1 0,-1-1 4 0,3 2 2 0,-1-2 8 16,-1 1 4-16,0-1-16 0,3 2 9 0,-4-2 4 15,4 2 2-15,-2-1 0 0,1 0 6 0,-2 0 5 16,3-1 3-16,-2 1 3 0,7 1 2 0,-3-2 2 16,3 0 1-16,0 0 6 0,0 1-3 0,1-2 2 15,0 0 0-15,4-1 3 0,-3 1-3 0,4-1 0 16,-1 1 3-16,0-1 0 0,0 0-1 0,1 0-2 15,1-1 1-15,-1 1 2 0,13 0-1 0,-24-1 0 16,13 1-2-16,11 0 5 0,-23-1-2 0,23 1-4 16,-21 0 2-16,21 0 2 0,-21-3 0 0,10 3-2 15,11 0 1-15,-18-3 2 0,18 3-1 0,-17-1-4 0,17 1 4 16,-17-1-1-16,17 1 4 0,-15-1-2 16,15 1-1-16,-11 0 2 0,11 0-3 0,-12-2 5 15,12 2-3-15,-13-2 2 0,13 2 0 0,-10-1 3 0,10 1-1 16,0 0-6-16,-11-2-1 0,11 2 11 15,0 0 0-15,0 0-1 0,-12-1 0 0,12 1-22 16,0 0-9-16,0 0 0 0,-8-2-7 0,8 2 1 16,0 0 0-16,0 0 3 0,0 0-9 0,-5-5-14 15,5 5-37-15,0 0 10 0,0 0 13 0,2-5 11 0,-2 5 18 16,0 0-3-16,0 0 12 0,1-9 3 0,-1 9 7 16,0 0-1-16,0 0 1 0,1-6 4 0,-1 6 3 15,0 0 1-15,0 0 1 0,0 0 0 0,0-8-1 16,0 8 9-16,0 0-7 0,0 0 7 0,0 0-5 15,0 0 0-15,0 0 1 0,0-6 1 0,0 6 3 16,0 0-4-16,0 0-2 0,0 0 3 0,0 0-3 16,0 0-42-16,0 0-58 0,0 0-56 0,0 0-2 15,0 0-60-15,0 0-61 0,0 0-332 0,0 0-127 16</inkml:trace>
  <inkml:trace contextRef="#ctx0" brushRef="#br0" timeOffset="-60977.34">19191 10485 117 0,'0'0'439'0,"-2"-10"-162"16,2 10-43-16,-3-6-81 0,3 6-23 0,0 0-44 16,0 7 51-16,1 2-11 0,1 2-14 0,-1 4-15 15,0 3 19-15,1 8-29 0,0 0 27 0,-2 8-13 16,1 0-3-16,1 2-18 0,-2-1-12 15,1 2-10-15,-1 0-11 0,1 1-2 0,2-2-8 0,-3 0-6 16,1-1-8-16,0 0 4 0,-1-2-5 0,0-4-3 16,2 0 1-16,-1-3 5 0,-1 1-5 0,1-2-47 15,-1-5-76-15,1-2 7 0,1 0-45 0,-2-3-28 16,1-3 7-16,0-3-80 0,-1-9-123 0,0 11-149 16,0-11-12-16</inkml:trace>
  <inkml:trace contextRef="#ctx0" brushRef="#br0" timeOffset="-60453.74">19125 10659 119 0,'-3'-13'429'0,"-2"1"-92"0,4 0-37 0,1 1-98 0,0 0-21 16,1 0-63-16,3 1-1 0,4-2-46 0,4 1 9 16,2-2-32-16,9-1 24 0,4 1-29 0,5 1 12 15,7-1-21-15,4 1 13 0,3 0-29 16,3 2 17-16,3 1-26 0,4 0 14 0,-1 1-20 0,-1 1 20 15,4-2-20-15,-2 4 17 0,-1-3-19 0,-2 2 18 16,-2 0-24-16,-1 1 12 0,-5-1-7 0,-4 3 12 16,-7-1-16-16,-4 2 34 0,-3-2 1 0,-7 3 25 15,1-3 5-15,-2 3 10 0,-5 0 5 0,0 0-1 16,-1 0-8-16,-2-1-14 0,-11 2-13 0,19 0-17 16,-19 0-10-16,16 0-3 0,-16 0-2 0,14 7-1 15,-8-1-1-15,1 3 2 0,-2-1 2 0,2 4-3 16,0 4 44-16,-1 0 4 0,-1 4-5 0,5 2-27 15,-5 1 19-15,3 5-22 0,-1 1 13 0,-1 1-3 16,0 1-3-16,2 1 3 0,-3 0-4 0,2 2 4 0,0-3-4 16,-2 2-2-16,0 0-1 0,0-1-3 15,1 0 23-15,-3-2-5 0,1 1-7 0,1-6-6 0,-3 1 1 16,0-1-3-16,-2-1-3 0,0-3-1 16,-1-1 3-16,-2 1 5 0,-2 0 18 0,0-1 14 0,-4-1 0 15,-1-1-5-15,-3-1 11 0,-2-3-18 16,-7 1 6-16,-3 1-15 0,-3-3 6 0,-8 0-10 15,-5-2 2-15,-4-2-12 0,0-1 6 0,-6-2-2 0,1-2 8 16,-2 1-8-16,-2-3 10 0,4-2-5 0,-1 1 0 16,9-1-7-16,1-1 1 0,2 0-10 0,8 1 2 15,0-1-6-15,3-1-1 0,6 2-2 0,3-1 1 16,0 0-3-16,4 0-9 0,-1 0-62 0,4 1-50 16,12 0-50-16,-23-2-55 0,23 2-61 0,-18-1-64 15,18 1 0-15,-12 0-40 0,12 0-113 0,0 0-259 16,0 0-267-16</inkml:trace>
  <inkml:trace contextRef="#ctx0" brushRef="#br0" timeOffset="-59991.66">20462 10811 513 0,'0'0'384'0,"0"0"-83"0,7 7-66 0,-7-7-18 16,16 1-42-16,-16-1-36 0,23 0-25 0,-11 1-18 16,4-1-15-16,-2 1-19 0,1-1-11 0,1 1-29 15,3-1-58-15,-4 2-84 0,4-1-73 0,-2-1-146 16,-2 0-193-16,4-1-37 0</inkml:trace>
  <inkml:trace contextRef="#ctx0" brushRef="#br0" timeOffset="-59232.66">21084 10540 193 0,'2'-5'425'16,"-2"5"-126"-16,0 0-52 0,0 0-86 0,10 4-19 15,-7 0-9-15,3 4 19 0,-1 1 1 0,2 1-46 16,0 2 21-16,-1 4-24 0,-1 0 12 0,5 2-50 15,-5 1 26-15,3 1-8 0,-1 1 4 0,-2-2-5 16,2 1-16-16,-3-1-13 0,1-1-6 0,-1-1-11 16,-1 0-10-16,1-2 3 0,-2-2-6 0,-1-1-7 15,2 0 2-15,-1-4-1 0,0 1 24 0,0-2 58 16,-2-2 52-16,1 3 51 0,-1-8-17 0,3 7-37 0,-3-7-46 16,0 0-7-16,0 0-18 0,3-13-18 15,-1 4-14-15,-2-3-30 0,4-1-2 0,0-2-14 0,0-1 8 16,2-1-10-16,-2 1 6 0,1 2-11 0,0 0 7 15,-1 2-9-15,-1 1 0 0,0 1-14 16,0 2 4-16,3 1-7 0,-6 7 13 0,5-9-8 0,-5 9 16 16,0 0-9-16,15 2 9 0,-15-2-6 0,12 7 9 15,-5 0 0-15,-1 0-1 0,3 1 0 0,1 3 1 16,-1-1 1-16,0 1 1 0,4-1 2 0,-3 1-9 16,4 0 11-16,-2-1-1 0,1 1 1 0,-1-3 3 15,1 1 0-15,0-2 0 0,-2-2 4 0,0 1 3 16,0-3-3-16,-1-2 3 0,-10-1-4 0,21-2 5 15,-10-2-2-15,-2-2-3 0,3-1-4 0,-2-4 3 16,0 1 1-16,0-7-10 0,-1 0 9 0,0-1-11 16,-2 0 4-16,0 2 7 0,-2 2 47 0,-1 1 48 15,0 1 5-15,1 2-35 0,-2 0-9 0,1 3-26 16,-1-1-14-16,0 3-10 0,-3 5-7 0,4-10 0 0,-4 10-3 16,0 0-5-16,0 0 4 0,0 0-2 15,6 8 5-15,-6-8-4 0,5 9 2 0,-1-1-6 16,0-1 4-16,2 1-6 0,-1 0 8 0,2-1-3 0,-1 2 3 15,1-1 0-15,0 1 3 0,2-3-2 0,-2 1 5 16,-1-1-3-16,3 0 5 0,-1-4-7 0,-8-2 8 16,14 4-6-16,-14-4 3 0,19-4-6 15,-9 1-3-15,0-5-31 0,2-2-14 0,-2 0 1 0,3-4-6 16,-3-1 9-16,2 0 7 0,-2 1 4 0,-4 3 8 16,3-3 1-16,-4 4-14 0,3 1 29 15,-4 2-9-15,1 0-7 0,-1 2 3 0,-4 5 1 0,5-6 5 16,-5 6 0-16,0 0 5 0,0 0-6 0,2 6 6 15,-2-6 1-15,2 9 7 0,1-1-2 0,-3-1 7 16,2 3-6-16,0 0 12 0,-1 1-9 0,3 1-3 16,-2-1-97-16,0 2-42 0,1-1-46 0,-2-1-30 15,3 1-46-15,-3-1-23 0,2-2-25 0,-1 0 19 16,3-1-26-16,-2-2-10 0,-3-6-359 0,9 5-192 16</inkml:trace>
  <inkml:trace contextRef="#ctx0" brushRef="#br0" timeOffset="-58651.56">22044 10636 65 0,'6'-11'553'0,"-1"2"-124"0,-1 0-34 0,0 3-72 16,2-1-71-16,-6 7-62 0,5-9-38 0,-5 9-18 0,8-5 0 16,-8 5 8-16,0 0-11 0,13 1-21 15,-13-1-27-15,9 7 27 0,-4-2-20 0,-1 0-3 16,2 2-30-16,-3 0 6 0,2 0-28 0,1 2 7 16,-2-2-22-16,1 0 10 0,-2 2-16 0,1-3 9 0,0 1-12 15,-2-2 11-15,-2-5-13 0,6 9 19 0,-6-9-6 16,4 9 77-16,-4-9-14 0,0 0-9 15,0 0-23-15,0 0-3 0,16-4-17 0,-11-1 3 0,1-1-17 16,-1-1 6-16,2 0-12 0,0 1-3 0,0-2-3 16,0 1-3-16,1 2-7 0,0-2-1 0,-1 1-2 15,2 3-7-15,-2-1 2 0,-7 4 2 0,14-4 2 16,-14 4 1-16,14 0-1 0,-14 0 3 0,13 2-2 16,-13-2 5-16,12 5-7 0,-12-5 11 0,9 3-9 15,-9-3 8-15,9 6-9 0,-9-6 11 0,10 5-7 16,-10-5 11-16,5 4-2 0,-5-4 13 15,0 0 3-15,8 3 59 0,-8-3-21 0,0 0-11 0,9-2-20 16,-9 2-2-16,10-6-11 0,-3 0 2 0,-1 2-7 16,1 1-6-16,-1-2 1 0,0 0-6 0,-6 5-5 15,12-5 1-15,-12 5-3 0,13-2 3 0,-13 2-1 16,14 0 0-16,-14 0 3 0,13 1-5 0,-13-1 9 16,12 6-7-16,-5-1 6 0,0 0 0 0,0-1 9 15,0 3-36-15,-2 0-48 0,2-3-39 0,-1 3-17 16,1 0-24-16,0-1-13 0,-2-1-6 0,2 1-28 15,-1-3 20-15,3 0 2 0,-9-3 28 0,14 2-7 16,-14-2 3-16,17 0 33 0,-8-4 4 0,0 2 12 16,0-3 14-16,3-3 16 0,-1 1 16 0,1-2 10 15,-3 1 71-15,2-2 30 0,-1 3 81 0,-3-1 66 16,1 3 13-16,-1-1-1 0,-1 1-29 0,0 1-38 16,-2-1-37-16,-4 5-24 0,9-4-21 0,-9 4-16 15,9-4-7-15,-9 4-5 0,0 0-4 0,11 3-6 0,-11-3 1 16,8 4-1-16,-3 1 0 0,1 0-18 0,-3 0-25 15,4-1-59-15,-2 2-9 0,1-1-69 0,-1 1-2 16,2-1-51-16,0 1-10 0,0-1-47 0,-1-2-53 16,-6-3-355-16,15 5-183 0</inkml:trace>
  <inkml:trace contextRef="#ctx0" brushRef="#br0" timeOffset="-57947.88">22981 10467 186 0,'0'0'416'0,"-2"-12"-65"0,2 12-89 0,-5-9-41 16,0 5-65-16,5 4-7 0,-11-7-41 0,11 7 6 15,-13-3-44-15,13 3 6 0,-16 1-17 0,16-1 13 16,-17 5-30-16,9-1 10 0,-1 1-31 0,1-2-4 16,1 3 7-16,0 0 19 0,3-1 3 0,-2 2-8 15,2-1-5-15,4-6-8 0,-5 10 0 0,4-4 11 16,1-6 26-16,1 9 7 0,-1-9-9 0,7 9-7 15,-7-9-7-15,11 6-7 0,-11-6-3 0,13 2-7 0,-13-2 2 16,16 0-9-16,-16 0 2 0,14-6-1 0,-6 1-4 16,2-1-1-16,-3 1-3 0,-1-4-3 15,-1 3-1-15,-1-3-22 0,-1 1 7 0,-1 2 3 16,-4-1-13-16,-1 1 12 0,-3 3-4 0,-3-1-2 0,0 2 29 16,-4 2-4-16,0 2 13 0,-2 2 2 0,-1 0 10 15,1 2-5-15,2 3-1 0,-1-2-2 0,3 4-7 16,2-2-1-16,0 3-2 0,3 0-14 15,2-1-2-15,1 1 18 0,3-1-15 0,1 0 20 0,3 0-20 16,0 0 11-16,4 2-15 0,-2-4 14 16,4 1-10-16,1-2 14 0,1-1-17 0,0-2 14 15,1-1-10-15,-2-2 11 0,1-1-16 0,2-1 15 0,-1-2-17 16,2-3 0-16,0-1-35 0,2-4-9 0,-1-2 5 16,2-1 0-16,0-1 7 0,0-3 0 0,1 3-12 15,-3 2 18-15,0-1-16 0,0 3 18 0,-1 0-11 16,-1 3 14-16,1 0-17 0,-2 3 25 0,-1 2-17 15,0 1 20-15,0 1-14 0,-1 0 19 0,1 2-11 16,-2 2 11-16,0-1 2 0,-1 3 3 0,-1 0-5 16,-2-1 1-16,2 2 3 0,-2-2 3 0,-2 1-3 15,1 0 2-15,-2 0 2 0,-3-6-2 0,5 10 0 16,-5-10 5-16,6 8 8 0,-6-8 5 0,3 5-2 16,-3-5-3-16,0 0-5 0,0 0-4 0,0 0-1 15,0 0-3-15,6-5 0 0,-6 5-1 0,8-11-4 0,-3 4-20 16,3 0 14-16,-1-3-10 0,1-1 18 0,1 2 7 15,1-1 74-15,-1 2 26 0,-2 0 17 16,-2 0-24-16,2 4-20 0,-2-3-30 0,1 3-12 16,-6 4-10-16,9-5-7 0,-9 5-4 0,0 0-1 0,12 3 0 15,-12-3-3-15,7 10 2 0,-3-5-2 0,-2 2-1 16,1 3 0-16,-1-2-54 0,1 3-49 0,-2-3-41 16,2 3-42-16,-2-3-48 0,1 2-78 15,-2-2-3-15,0 0-13 0,0-1-5 0,0-7-1 0,0 10-60 16,0-10-157-16,0 0-42 0</inkml:trace>
  <inkml:trace contextRef="#ctx0" brushRef="#br0" timeOffset="-57830.88">23443 10542 38 0,'0'-12'367'16,"-2"1"-94"-16,2-3 16 0,-3-2-29 0,2-1-20 0,0 0 9 15,-2 0 4-15,0 0 4 0,1 0-58 0,-1 1-3 16,2 0-56-16,-3 1-11 0,3 4-36 0,-2-1-8 16,2 1-60-16,1 3-108 0,-2 1-14 0,2 7-65 15,-2-10-65-15,2 10-110 0,0 0-356 0,0 0-200 16</inkml:trace>
  <inkml:trace contextRef="#ctx0" brushRef="#br0" timeOffset="-57209.87">23705 10365 238 0,'0'0'469'0,"12"-3"-110"0,-12 3-44 16,9-3-62-16,-9 3-13 0,7-2-38 0,-7 2-39 15,0 0-28-15,9-3-41 0,-9 3-26 0,0 0-15 16,0 0-12-16,-5 6 5 0,5-6-23 0,-9 10-4 15,3-4-2-15,-2 1-6 0,2 0 3 0,-1 2-11 16,0-1 5-16,2 0-6 0,-2 2 0 0,3 0-4 0,-1-1 5 16,3-2-5-16,-2 3 4 0,3-2-2 0,-1 1 11 15,2-2-2-15,3 0-2 0,1 2 4 16,-2-5-1-16,3 2 2 0,-1-1 0 0,-4-5-1 16,13 5 4-16,-13-5-1 0,17 1 3 0,-17-1-8 0,19-3 3 15,-9-1-8-15,0-2 7 0,0 1-7 0,-1 1 1 16,0-2-3-16,-1 1 7 0,2 1-10 0,-1-1-9 15,-9 5 8-15,9-8-7 0,-9 8-10 16,12-5 3-16,-12 5 5 0,0 0 2 0,9-2 0 0,-9 2 6 16,0 0-7-16,0 0 3 0,0 0 0 0,0 7-2 15,0-7 2-15,0 0 0 0,0 10 2 0,0-10-1 16,0 0 6-16,1 8 4 0,-1-8 0 0,2 6 4 16,-2-6 2-16,7 5 1 0,-7-5 1 0,9 3-3 15,-9-3 4-15,12 1-1 0,-12-1 3 0,17-1-2 16,-17 1-2-16,17-4 1 0,-10 1 1 0,4-1-5 15,-2 0-17-15,-2 0 14 0,1 1-16 0,1-1 18 16,-3-1-7-16,-6 5 4 0,11-7-9 0,-11 7 7 16,10-5-8-16,-10 5 10 0,9-6-8 0,-9 6 9 15,6-5-11-15,-6 5 9 0,5-2-7 0,-5 2 9 16,8-4-17-16,-8 4 18 0,6-4-9 0,-6 4 5 16,9-5-4-16,-9 5 10 0,10-6-8 0,-3 2 14 15,-1-1-10-15,-1-2 26 0,-1 1-14 0,1-4 9 16,-1 2-21-16,0-2 14 0,0 1-15 0,-3-2 12 15,0 0-5-15,-2 0 20 0,0 3-3 0,-1-3 18 16,-4 4-18-16,4-1 6 0,-2 2-20 0,-1 1 14 16,5 5-25-16,-11-6 9 0,11 6-12 0,-10-1 10 15,10 1-13-15,-9 3 15 0,9-3-16 0,-2 8 19 16,2-8-19-16,1 12 20 0,3-4-13 0,0 1 18 16,3 2-31-16,2 1-69 0,0 0-55 0,3 3-91 15,0-1-150-15,0 0-428 0,1 0-331 0</inkml:trace>
  <inkml:trace contextRef="#ctx0" brushRef="#br0" timeOffset="-56615.42">24678 10204 95 0,'-12'3'637'0,"2"-2"-88"0,10-1-69 15,-18 2-33-15,18-2-68 0,-11 1-53 0,11-1-42 16,0 0-59-16,0 0-52 0,0 0-33 0,0 0-30 0,9-7-12 15,7 4 1-15,6-1-11 0,2-1-14 0,3 0-14 16,0 2-14-16,2-1-7 0,-1 2-8 16,-2-1-6-16,0 1-28 0,-5 1-85 0,1 1-57 0,-4 0-71 15,-3 1-29-15,-1 0-57 0,-5 3-37 0,-9-4-144 16,13 4-333-16,-13-4-351 0</inkml:trace>
  <inkml:trace contextRef="#ctx0" brushRef="#br0" timeOffset="-55673.37">25889 9936 348 0,'0'-11'335'0,"-5"5"-89"0,5 6-45 15,-11-5-43-15,11 5-26 0,-21 0-2 0,7 2 7 0,-4 3-10 16,0 3 0-16,-1 3-2 0,1 1-14 16,-1 1 0-16,3 2-26 0,0 2 3 0,3 1-8 0,2 0-15 15,3 2 19-15,3-4-6 0,1 2-17 16,4-1-12-16,4 0 12 0,3 1-7 0,3-1 9 16,2-1-26-16,5-1 9 0,2 1-21 0,4-2 7 0,-3-3-19 15,1-2 14-15,1-1-13 0,0-2 16 0,-2-1-18 16,0-3 31-16,-1 0 1 0,-2-4 31 15,0-2 14-15,-2 0-10 0,-1-3-24 0,0-3-2 0,-3-1-11 16,-2-3-3-16,-2 0-9 0,-2-1-5 16,-1-1-6-16,-1 0-4 0,-3 1-1 0,-3 1-1 0,2-1-5 15,-6 2 2-15,-1 0-2 0,-1 2 1 0,-2 1-1 16,-3 1-2-16,4-1 0 0,-1 3-1 0,-1 0 0 16,3 1-1-16,0 1-3 0,2 0 4 15,0 1-2-15,7 4-2 0,-9-8-1 0,9 8 0 16,-9-6-3-16,9 6 0 0,-10-6-2 0,10 6-4 0,-4-5 4 15,4 5 0-15,-6-2 2 0,6 2-1 0,0 0 1 16,-5-5 1-16,5 5 0 0,0 0-1 16,0 0 0-16,0 0 0 0,0 0-3 0,0 0 6 0,-7 4-1 15,7-4 1-15,-2 6-3 0,2-6 2 16,-3 12 3-16,1-6-3 0,2 2 0 0,0 0-3 0,0 3 1 16,0 0-4-16,1 1 8 0,0 0-8 0,3 1 5 15,-1-1 0-15,-1 2 5 0,3-1-9 16,0 1 9-16,2-1-8 0,-1-2 12 0,3 1-11 0,-1-1 12 15,0-1-8-15,2-2 8 0,-1 0-3 0,0-2 5 16,-2-1-8-16,3 0 9 0,-1-3-6 0,2 1 2 16,-11-3-5-16,19-2 10 0,-10 0 17 0,0-1 29 15,0-2-10-15,-2 0-8 0,-1-3-9 0,1-1 0 16,-2 0-7-16,-2-2-2 0,-1 0-7 16,1-1-1-16,-3 0-2 0,-1 0 0 0,-1 2-2 0,0-3-6 15,-1 3-34-15,-1 0-53 0,-2 1-43 0,2 1-42 16,-1 2-34-16,-1 0-35 0,-1 0-43 0,3 1-26 15,4 5-30-15,-12-5-11 0,12 5-358 0,-9-4-210 16</inkml:trace>
  <inkml:trace contextRef="#ctx0" brushRef="#br0" timeOffset="-54764.24">26075 9949 61 0,'11'-2'401'0,"-1"1"-94"0,3 2-37 0,-1 1-40 16,2 1-39-16,0 2-28 0,0 1-31 0,0 2-23 15,-1 1-21-15,3 3-16 0,-3 0-8 0,1 1 6 16,-2 1-34-16,-3-1 24 0,1 0-26 0,-4 1 12 16,1-2-24-16,-4 1 20 0,1-1-3 15,0-2 8-15,-3 1-4 0,-1-2 14 0,0 0 12 0,0-2-6 16,-2 0 19-16,2-7 9 0,-7 8 8 0,7-8-29 16,-5 4 21-16,5-4-32 0,0 0 4 0,-9-6-26 15,7 0 11-15,-1-1-12 0,3 0-9 0,3-4-1 16,-1 1-8-16,2-2-7 0,3 0-1 0,0 0-4 15,5-1 1-15,-1 0 1 0,1 0-8 0,-1 3 1 16,2 1-3-16,2 1-1 0,-2 1 1 0,4 2-4 16,-3 0 2-16,0 3-5 0,-1 0 5 0,-1 2 0 15,1 1-1-15,-1 0-2 0,0 2 4 0,0 1-1 16,-2-1 0-16,2 1 0 0,-3 2-6 0,0 0 6 16,-1-1-12-16,0 0 20 0,-1 2-17 0,-2-2 16 15,2 0-12-15,-3-1 15 0,0 1-18 0,-4-5 20 16,5 8-12-16,-5-8 9 0,5 6-5 0,-5-6 19 15,0 0-16-15,0 0 17 0,-4 5-19 0,4-5 15 16,0 0-18-16,-5-4 21 0,5 4-7 0,-5-10-5 16,5 10 6-16,-2-12-5 0,2 6-4 0,1-2-1 15,0-2 2-15,4 0-1 0,0-1 0 0,3 1-3 16,0 0-6-16,1 1-6 0,0-1-5 0,0 2 17 16,-1 0-5-16,1 2 0 0,1 1 0 0,0 0-1 15,-1 0 0-15,1 1-1 0,1 2-3 0,-2-2 6 16,3 2 4-16,-1 1 2 0,-1 0-6 0,2-1 0 15,-12 2 10-15,22-1-11 0,-11 1 2 0,-11 0 3 16,18 0-3-16,-18 0 1 0,19 0 4 0,-19 0 1 16,18-1 0-16,-18 1 2 0,19-2 4 0,-19 2-5 15,16-3 4-15,-16 3 0 0,16-5-1 0,-8 3-4 16,-2-3 2-16,3 1-2 0,-2 0 2 0,-2-2-1 16,1-1-2-16,-1 0-3 0,2-1-6 0,-5 1 2 15,3-1-3-15,-3 1-1 0,0 0-18 0,-2 0 20 16,0 7-15-16,-4-10 17 0,-1 6-18 0,5 4 16 15,-16-3-16-15,16 3 19 0,-23 4-3 0,9 1-2 16,-2-1 0-16,2 4 4 0,3 1 3 0,-3 1-6 16,3 0 3-16,0 4-2 0,3-2 2 0,1 1 0 15,3 1-1-15,0 1 2 0,4-3 4 0,0 2-15 16,1-2 20-16,4 2-10 0,2-2 22 0,-1 2-13 16,4-3 12-16,2-1-19 0,-1-1 25 0,3-1-16 15,-1-3 14-15,2 0-15 0,0-3 13 0,0-2-16 16,-1-1 19-16,2-2-6 0,1-3-1 0,2-3-1 15,-3-2-5-15,0-3-28 0,3-6-17 0,-3 0 16 16,-1-4 0-16,-1-1 3 0,-1 1-3 0,0-1 1 16,-3 1 17-16,-1 5 41 0,-2 0 29 0,1 4 39 15,-4 2-14-15,1-2-22 0,-1 7-27 0,0 0-9 16,-4 8-10-16,2-8-4 0,-2 8-4 0,0 0-7 16,0 0-4-16,-6 10 3 0,6-3-2 0,-1 0-1 15,1 5 2-15,-1 1-8 0,2 1 11 0,0 1-1 16,0 4 2-16,2-1-2 0,1 2 0 0,-2 2 3 15,3-1-16-15,-1 2-70 0,0-2-28 0,0 0-33 16,1-2-30-16,1 0-34 0,1-2-12 0,-1-1-53 16,1-3-7-16,3 0-59 0,-1-1-92 0,2-3-158 15,2-3-93-15</inkml:trace>
  <inkml:trace contextRef="#ctx0" brushRef="#br0" timeOffset="-54116.09">27571 9954 455 0,'3'-9'377'0,"-2"1"-89"0,-3 3-68 0,-2 0-50 16,-3 1-34-16,-2 2-27 0,-2-1-20 0,-1 3-16 16,-2 0-14-16,3 3-18 0,-2-2-9 0,0 3-6 0,4-1-10 15,-1 2-2-15,0 0-1 0,3 0 3 16,2 2-5-16,1-1 25 0,4-6-23 0,-2 10 23 16,2-10-21-16,6 10 19 0,-6-10-22 0,12 6 14 15,-3-3-49-15,0-1 6 0,-9-2-65 0,21 0 24 16,-12-2-14-16,2 1 35 0,-1-2-18 0,-10 3 61 15,14-4 8-15,-14 4 14 0,13-1-8 0,-13 1-8 0,0 0 19 16,0 0-25-16,12 1 30 0,-12-1-8 16,0 0 12-16,0 8-30 0,0-8 16 0,0 7-27 15,0-7 19-15,2 7-16 0,-2-7 44 0,2 10 19 16,-2-10 2-16,8 7-14 0,-8-7-4 0,10 7-2 16,-5-3-11-16,-5-4-1 0,14 2-3 0,-14-2 0 15,18-1-8-15,-9-2-3 0,0 0-1 0,1-1 5 16,-1-2-13-16,2-2 0 0,0-1-3 0,-1-2-3 15,2-3-30-15,-1-1 20 0,-1-4-4 0,1-1-2 16,3-3 3-16,-3 0-4 0,3-1 27 0,-5 5 36 16,2 0 39-16,0 2 18 0,-3 4 16 0,-1 1-27 15,0 1-6-15,0 3-42 0,0 0 2 0,-1 3-24 16,1 0 6-16,-7 5-18 0,15-2 11 0,-15 2-14 16,17 4 8-16,-7 0 1 0,-3 2-1 0,2 3-4 15,0 0 2-15,-1 3-4 0,0-1-2 0,-2 1-48 16,-1 1-36-16,-2 1-30 0,0-1-42 0,-1-1-39 15,-4 1-31-15,0-1-12 0,-2 1 23 0,0-1-17 16,-2-2 41-16,-1 0-8 0,0-2 61 0,-1-2 0 16,2-1 54-16,-1-1-2 0,7-4 70 0,-12 3-3 15,12-3 35-15,-7-4-5 0,7 4-1 0,-1-8-5 16,4 2-3-16,4-1-2 0,1-1-5 0,3-1-3 16,5-1 29-16,2 0-37 0,2 0 24 0,2 1-34 15,-2 1 25-15,3 1-22 0,1 2 49 0,-7 0-12 16,3 3 38-16,-2 0-22 0,-2 2 16 0,-1 2-32 15,-3 0 2-15,-1 1 46 0,-1 2-2 0,-1 1-9 16,-2 1-12-16,-2 0-4 0,1 2-11 0,-3 2-2 16,-1-2-1-16,-2 3-3 0,0-2-1 0,-1 1-54 0,-2 1-36 15,0-2-94-15,-1 0-53 0,1-1-109 16,-1-1-225-16,-1-2-49 0</inkml:trace>
  <inkml:trace contextRef="#ctx0" brushRef="#br0" timeOffset="-53998.1">28096 9890 104 0,'-1'-16'464'16,"1"2"-112"-16,0-1-45 0,-1-2-81 0,0 0-28 16,1 2-56-16,-2 2-8 0,2-1-44 0,0 0-23 15,0 2-111-15,0 1-55 0,0 1-151 0,2 1-279 16,0 0-32-16</inkml:trace>
  <inkml:trace contextRef="#ctx0" brushRef="#br0" timeOffset="-53515.1">28314 9777 163 0,'2'7'313'16,"-2"-7"-61"-16,0 9-82 0,0-9 9 0,3 13-30 0,-3-13-22 15,2 9-10-15,-2-9-10 0,5 11-9 0,-5-11-12 16,7 9-18-16,-2-5-2 0,-5-4-19 0,13 6-8 16,-13-6-5-16,14 4-3 0,-14-4-3 0,16 1-5 15,-16-1 5-15,17-3 9 0,-8 2-28 0,1-2 26 16,-2-1-34-16,0-2 25 0,-2 1-29 0,0 1 7 15,-3-2-14-15,-3 6 18 0,2-9-28 0,-2 9 26 16,-4-7-23-16,-2 4 18 0,6 3-24 0,-16-4 29 16,5 2-25-16,11 2 27 0,-25 2-26 0,12-1 25 15,0 0-22-15,-1 1 26 0,3 1-25 0,0-2 27 16,0 2-23-16,2-1 20 0,9-2-19 0,-14 3 29 16,14-3-25-16,-10 4 27 0,10-4-22 0,0 0 19 15,0 0-22-15,0 0 25 0,9 3-30 0,-9-3 16 16,14-3-31-16,-4 2 13 0,1-2-11 0,0 1 25 15,0 0-25-15,3-2 23 0,-3 2-23 0,1 0 24 16,-12 2-30-16,17-3 26 0,-17 3-23 0,15 0 24 16,-15 0-24-16,13 3 28 0,-13-3-29 0,10 5 30 15,-10-5-29-15,8 7 25 0,-3-1-19 0,-5-6 29 16,6 9-28-16,0-4 7 0,-4 1 3 0,4 0-1 16,-2-2 8-16,1 3 0 0,-1-3 4 0,1 1 23 15,-5-5-22-15,14 8 3 0,-14-8-2 0,13 5 3 16,-13-5 0-16,17 3 0 0,-17-3 0 0,20-3-1 15,-8 1-4-15,-1 0 23 0,0-1-29 0,1 1 25 16,0-1-27-16,-1 1 26 0,1 0-30 0,-2 0 20 16,0 1-55-16,-10 1-49 0,17-1-114 0,-17 1-355 15,13 1-77-15</inkml:trace>
  <inkml:trace contextRef="#ctx0" brushRef="#br0" timeOffset="-52800.94">26324 10443 26 0,'0'0'546'0,"-10"-8"-126"0,10 8-49 16,-8-6-71-16,8 6-38 0,-8-7-45 0,8 7-36 16,-6-4-44-16,6 4-37 0,0 0-31 0,-8-5-17 15,8 5-10-15,0 0-8 0,0 0-8 0,0 0-7 16,-9 4 1-16,9-4-7 0,0 0 25 0,0 9 20 15,0-9-5-15,4 7 14 0,-4-7 11 0,5 7-9 16,0-1-11-16,-5-6-9 0,11 7-4 0,-2-3-3 0,1 0-6 16,1-1-6-16,5-1-7 0,3 0 1 0,4-1-21 15,3-1 15-15,5 0-18 0,5-1 13 16,2 0-19-16,3 0 19 0,9-3-16 0,1 0 12 16,-1 0-16-16,4 0 20 0,-1 1-18 0,0-1 17 15,1-1-17-15,2 2 15 0,1-2-16 0,1 1 18 16,0 0-19-16,1 1 15 0,1-2-14 0,0 1 19 15,-1-1-17-15,0 2 12 0,-1-2-19 0,-2 2 17 16,-1-1-16-16,-2-1 18 0,-3 2-20 0,-1-1 22 16,-2 1-21-16,-6 2 16 0,-3-1-16 0,-2 1 15 15,-3 1-17-15,-1 0 14 0,-2 1-15 0,0-1 20 16,-3 2-18-16,1 0 18 0,-2-1-19 0,-1 1 21 16,-3-1-16-16,0 1 16 0,-2-1-21 0,0 0 21 15,-1 0-18-15,-1-1 17 0,1 0-18 0,0 0 24 16,-2-1-21-16,0 0 41 0,-1-2 13 0,0 1 17 0,-2-1-10 15,2-1 1-15,-1-1 5 0,-2-1 10 0,0 0 19 16,-1-1-2-16,1-1-11 0,-4-1 18 16,3-3 2-16,-5 1-7 0,2-2-6 0,-4-1 2 15,3-1 3-15,-3 1-6 0,-1-1-10 0,-1 0-10 0,-1 0-10 16,-2 1-8-16,3 2-5 0,-3 0-15 0,0 1-8 16,-3 1 5-16,3-1-2 0,-2 4-10 15,-1-2 0-15,0 3-76 0,-2 2-58 0,-2 0-76 0,7 4-65 16,-12-3-63-16,3 6-115 0,0-1-110 0,0 1-421 15,-1 1-567-15</inkml:trace>
  <inkml:trace contextRef="#ctx0" brushRef="#br0" timeOffset="-51675.82">25119 9739 383 0,'0'0'243'0,"2"7"20"0,-1 0-59 16,1 5-19-16,0 7-7 0,2 6 32 0,1 9-36 16,-1 8-30-16,5 6 29 0,-4 4-3 0,4 9-30 15,-1 1-8-15,-2-9-19 0,2 1-15 0,0-2-16 16,-1-1-28-16,3-1 17 0,-2-1-34 0,0-2 14 0,-1-4-5 16,2-1-5-16,0-2-9 0,-5-7-2 15,3-1-90-15,-1-1-19 0,0-8-20 0,-1 0-19 16,-1-1-34-16,0-6-27 0,1 0 11 0,-1-2-40 0,-1-4 14 15,2-1-77-15,-5-9-268 0,5 4-47 0</inkml:trace>
  <inkml:trace contextRef="#ctx0" brushRef="#br0" timeOffset="-51026.75">25192 9992 119 0,'0'-14'383'15,"2"3"-98"-15,5 0-36 0,5-2-42 0,6-1-31 16,8 1-24-16,10-3-19 0,6 1-24 0,5-1-22 16,16 0-18-16,8 0 10 0,3 0-37 0,8 2 13 15,2-2-26-15,7 3 12 0,4 0-13 0,4 1 13 16,20-1-28-16,0 1 19 0,-15 2-24 0,-1 2 18 16,2-2-22-16,0 3 19 0,0-1-19 15,-1 0 15-15,-1 2-18 0,-1-1 15 0,-4 1-17 0,1 0 16 16,-7 0-20-16,-3 1 16 0,-6-1-15 0,0 0 19 15,-5 0-19-15,-1 1 14 0,-4 1-19 0,-12-3 17 16,-1 4-13-16,-4-2 14 0,-1-1-18 0,-1 2 14 16,-4 0-16-16,-2-1 18 0,-3 0-14 0,-8 0 32 15,0 2-4-15,-2-1 7 0,-7 1-12 0,0 0 8 16,-4-2-15-16,3 3 0 0,-4-2-4 0,1 2 9 16,-4-2-12-16,1 2 9 0,1-1-13 0,-3 0 12 15,3 0-15-15,-2 2 14 0,3-1-14 0,-2 1 11 16,1 0-10-16,-1-1 10 0,0 2-15 0,-1 3 10 15,1-1-14-15,-2 2 14 0,1 2-16 0,1 3 18 16,-5 2-12-16,2 1 22 0,-2 4 7 0,0 4 5 16,-2 2 13-16,-1 3 2 0,-3-1-2 15,-1 3 20-15,1 3 6 0,-3 2-3 0,-1-1-5 0,-1 4 8 16,-1-1-16-16,-1 2 9 0,-1 0-18 0,2 2 32 16,-3-2-25-16,2 0 9 0,-2-1-23 0,0-2 8 15,1 0-24-15,-2-3 18 0,0-2-26 0,0-1 18 16,-2 0-21-16,0-2 21 0,-1-2-22 0,-2 0 18 15,0-1-16-15,-4-1 18 0,-1-2-3 0,-3-1 1 16,-5 0 21-16,-5-3 2 0,-2-1 0 0,-6-1-3 16,-10-1-8-16,-7-4-5 0,-7-1-2 15,-7-2-8-15,-14-1 0 0,-7-2-5 0,-7-2 1 0,-4 0-6 16,-8-1-5-16,-4-2 2 0,-26 2-1 0,0-1 1 16,0-2-2-16,2 2 3 0,20-1-9 0,-4 2-27 15,2 0-4-15,1 1 1 0,2 0-9 0,4 0-7 16,7 1-14-16,4-1-12 0,6 4-16 0,5-3-11 15,5 2-28-15,17 0-23 0,3-2-27 0,5 3-50 16,5-1-10-16,8 2-72 0,4-1-115 0,8 0-159 16,2-1-97-16</inkml:trace>
  <inkml:trace contextRef="#ctx0" brushRef="#br0" timeOffset="-41489.86">19145 13151 186 0,'0'0'458'0,"0"0"-126"15,-1-6-79-15,1 6-58 0,0 0 16 0,0 0 2 16,2 5-20-16,1 2 4 0,0 2-10 0,2 3-21 16,0 1-15-16,0 1-4 0,4 5 7 0,-1 0-24 15,-1 1-28-15,2 0-10 0,0 0 4 0,0 0-7 16,0-2-15-16,1 1-15 0,-3-1-4 0,-1-2-8 16,-1-1-1-16,0-2-5 0,2-1-8 0,-4-1-1 15,1-1-2-15,0-2 12 0,-1 0 15 0,-2-2 31 16,2 0-2-16,-3-6-11 0,2 8-20 0,-2-8-10 15,0 0-17-15,0 0 0 0,-6-8-26 0,3 1-18 16,-1-2-5-16,-2-4-51 0,-2-3 3 0,2-4 4 16,-2-3 1-16,0-5 10 0,1 0 7 0,-1 0 10 15,3-1-10-15,1 5 24 0,-1 1-10 0,4 5 19 0,-2 0-15 16,1 2 13-16,-1 5-17 0,2 0 21 16,2 5-11-16,-1 6 19 0,5-8-14 0,-5 8 32 15,9 3 14-15,-5 2-3 0,3-1 0 0,-1 3 0 16,4 3 4-16,-1-2 3 0,3 4 0 0,0-3-9 0,-1 1 5 15,1-1 4-15,1 1 1 0,0-2-3 0,1 2-6 16,-2-3 5-16,0-1-8 0,0 0 0 0,-3-1-7 16,2-3 7-16,-2-1-12 0,-9-1 10 0,19 0-13 15,-11-2 10-15,0-3-13 0,-1-2 9 0,2 0-12 16,-4-3 12-16,0-1-14 0,1-2 11 0,-1 1-13 16,1-1 12-16,-2 3 23 0,0 1 23 0,-2 0-10 15,2 2-14-15,-1 0-10 0,-3 7 0 0,6-7 0 16,-6 7 14-16,0 0-1 0,10 3 19 0,-10-3-7 15,9 8-5-15,-5-3-8 0,1 4-5 0,-1 0-12 16,0 0 7-16,2 2-8 0,-1 1 0 0,1-1-3 16,-1 2-20-16,0 0-63 0,0-2-70 0,1 2-35 15,-1 0-54-15,-1-3-54 0,1 1-75 0,0-1 1 16,2-1-53-16,-2-2-101 0,1-1-234 0,-2 0-255 0</inkml:trace>
  <inkml:trace contextRef="#ctx0" brushRef="#br0" timeOffset="-41245.49">19825 12894 296 0,'3'-7'547'0,"-3"7"-117"0,0 0-33 0,0 0-51 16,-5 9-9-16,2 0-73 0,-3 4-37 0,1 3-2 16,-2 3-33-16,3 1-24 0,-1 1-47 0,1 0-11 15,1-2-9-15,0 0 15 0,4-1-19 0,4 0 11 16,-2-2-19-16,3 0-9 0,1-1-13 0,3-1-11 15,4 0-9-15,0-2-5 0,1-2-7 0,2-2-7 16,0-1-16-16,-1-2-38 0,2-1-70 0,0-3-44 16,-1 0-32-16,-1-1-22 0,0-2-32 0,0-2-67 15,0-1 14-15,-2 1-31 0,-2-4-27 0,2 0-26 16,-3-2-301-16,-1 0-173 0</inkml:trace>
  <inkml:trace contextRef="#ctx0" brushRef="#br0" timeOffset="-40873.32">20123 12884 245 0,'-1'-13'460'0,"-1"4"-91"16,1-2-42-16,1 4-21 0,0 0-27 0,0 7-66 16,1-12-23-16,-1 12-21 0,4-6-12 0,-4 6 13 0,0 0 7 15,16 4-25-15,-9 2 10 0,0 0-27 0,1 4 5 16,2 1 9-16,-1-1-16 0,-1 4-22 0,1-2-25 16,-1 1 12-16,1 1 15 0,0 1-24 15,-3-3-17-15,2 2-13 0,-3-2-11 0,3-1-7 0,-5 1-5 16,1-3-1-16,0 0 6 0,-1-2 28 0,-2-1-18 15,-1-6 0-15,0 8-5 0,0-8-13 0,0 0-12 16,0 0 4-16,-12-3-7 0,9-4-7 0,-5-3-6 16,4-4-31-16,-3-4-21 0,0-3 1 0,1-1-3 15,-2-8 10-15,3 1 0 0,0-1 8 0,2 5 4 16,1-2 10-16,-1 3 23 0,3 5 26 0,0 0 0 16,3 1 1-16,-1 2-7 0,2 5 26 0,0 2 19 15,2 2 46-15,3 2-24 0,0 1 38 0,-9 4-11 16,17-1-7-16,-4 4-8 0,0 2-15 0,3 2-16 15,1 3-11-15,3 0-27 0,-1 3 12 0,-1-1-11 16,4 3-3-16,0 2-1 0,-3 0-9 0,1 1-62 16,-3 0-70-16,-2-2-120 0,-2-1-19 0,0 2-79 0,-4-1-78 15,-3-2-77-15,-2-1-92 0,0 0-602 0,-8-3-785 16</inkml:trace>
  <inkml:trace contextRef="#ctx0" brushRef="#br0" timeOffset="-40740.55">20317 12955 119 0,'-2'-5'597'0,"0"-2"-139"0,1 1-92 0,2-1-29 16,1-1-90-16,0 0-8 0,5-2-68 0,0 2-8 16,2-2-55-16,3 0 6 0,-1 2-46 0,2 1 8 15,-2-1-42-15,1 3-48 0,1 1-116 0,-3 0-59 16,-1 2-107-16,1 1-486 0,-10 1-303 0</inkml:trace>
  <inkml:trace contextRef="#ctx0" brushRef="#br0" timeOffset="-40491.5">19637 13580 219 0,'-32'19'688'16,"2"-1"-122"-16,4-4-73 0,4-2-55 0,6-2-57 16,-1-2-21-16,6 0-17 0,1-2-17 0,10-6 5 0,-7 3-46 15,7-3 2-15,10-5-51 0,7-1-5 0,7-6-28 16,13-4-33-16,4-2-27 0,14-6-42 0,5-2 7 15,0-2-34-15,4 0 3 0,1-3-32 0,1 3 13 16,-4 0-10-16,0 1-11 0,-4 2-74 0,-3 1-55 16,-11 5-51-16,-2 2-76 0,-4 2-70 15,-8 4-48-15,-8 1-52 0,-1 5-74 0,-3 0-40 0,-7 1-59 16,-11 4-442-16,17 0-605 0</inkml:trace>
  <inkml:trace contextRef="#ctx0" brushRef="#br0" timeOffset="-40205.5">19773 13817 393 0,'-24'17'485'0,"4"-1"-130"15,2-3-41-15,6-1-55 0,2-3 40 0,3-2-2 16,7-7-21-16,0 8-17 0,0-8 11 0,19-1-2 16,2-4-12-16,8-6-19 0,12-2-20 0,4-4 3 15,11-6-6-15,1-1-29 0,5-2 2 0,-1-2-8 0,2 0-14 16,-1 0-43-16,0 0 5 0,0 0 10 0,-3 1-24 15,-3 1 21-15,-2 2-11 0,-4-1 5 16,-12 6-22-16,-2 1-1 0,-8 4-8 0,-2 0 30 0,-6 4-1 16,-3-1-2-16,-2 3-20 0,-3-1-16 0,0 3-16 15,-5 0-20-15,-1 0-5 0,-1 2-12 0,-5 4-10 16,0-8-46-16,0 8-57 0,-5-4-35 16,5 4-90-16,-8-4-38 0,8 4-71 0,-10-2-90 0,10 2-66 15,0 0-78-15,-14 0-171 0,14 0-624 0,-10 2-943 16</inkml:trace>
</inkml:ink>
</file>

<file path=ppt/ink/ink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0-16T04:04:27.997"/>
    </inkml:context>
    <inkml:brush xml:id="br0">
      <inkml:brushProperty name="width" value="0.05292" units="cm"/>
      <inkml:brushProperty name="height" value="0.05292" units="cm"/>
      <inkml:brushProperty name="color" value="#FF0000"/>
    </inkml:brush>
  </inkml:definitions>
  <inkml:trace contextRef="#ctx0" brushRef="#br0">11352 5371 93 0,'5'-13'134'0,"3"0"-1"16,1 1-40-16,3-3-22 0,1 1 13 0,4-1-17 15,-2-1-10-15,6-1-13 0,-2 0-7 0,3 2 6 16,-1-1-5-16,-3 3 0 0,0 1-11 0,1 1-7 16,-2 2-3-16,-3 1-8 0,0 1 5 0,1 1-5 15,-3 1 4-15,-2 0-9 0,3 2 1 0,-3-1-1 16,0 2 1-16,2 0 1 0,-2-1-5 0,3-1-2 15,-2 2-27-15,2 0-13 0,2-2-22 0,1 2-14 16,2 0-41-16,0-2-115 0,2 0 74 0</inkml:trace>
  <inkml:trace contextRef="#ctx0" brushRef="#br0" timeOffset="204.13">12354 5332 130 0,'-4'8'189'0,"4"-8"-50"0,-5 5-30 16,5-5-26-16,0 0-19 0,-5 6-13 0,5-6-15 16,0 0-28-16,0 0-31 0,-4 5-48 0,4-5-60 15,0 0-53-15,0 0 52 0</inkml:trace>
  <inkml:trace contextRef="#ctx0" brushRef="#br0" timeOffset="1447.32">5675 4919 303 0,'0'0'340'0,"-5"-9"-33"0,5 9-48 0,-4-8-70 16,4 8-47-16,0 0-37 0,-5-6-31 0,5 6-21 15,0 0-9-15,0 0-8 0,0 0-12 0,-3 9-8 16,5-3 51-16,-2 2 29 0,1 1-16 0,2 2-17 15,-1 0 30-15,-1 0-20 0,2 0-18 0,1-1-5 16,0 0-16-16,2 0 35 0,2-3 4 0,1-2 6 0,1-3 27 16,5-3-28-16,7-4-2 0,5-5-22 15,5-5-3-15,3-6-20 0,3-1-9 0,5-7 9 16,3-4-14-16,-1 0 12 0,-2 0-33 0,-3 2-20 16,-7 4-28-16,-1 0-55 0,-1 3-54 0,-2 0-77 15,0 4-53-15,-4 5-454 0,-6 3-251 0</inkml:trace>
  <inkml:trace contextRef="#ctx0" brushRef="#br0" timeOffset="15403.63">6773 8868 10 0,'45'5'58'0,"1"0"-81"0,-7-3 6 0</inkml:trace>
  <inkml:trace contextRef="#ctx0" brushRef="#br0" timeOffset="43818.54">5684 10864 97 0,'-8'-8'376'0,"2"-1"-19"0,2 4-59 15,-1-1-41-15,5 6-84 0,-6-10-16 0,6 10-68 0,-8-5 7 16,8 5-35-16,0 0 43 0,-5 3 17 0,2 2 22 16,2 5-13-16,1 2-30 0,-1 1 22 0,1 5-23 15,0 3 9-15,0 5-17 0,0 2 20 0,0 2-34 16,0 5 7-16,-3 2-36 0,2 0 18 0,0 2 0 15,-2 4-1-15,-1 2-14 0,2 1-10 0,-5-2-18 16,4 2 7-16,-4-2-20 0,2 1 14 0,-1-2-18 16,-2-1 14-16,-1-3-16 0,3-1-16 0,-2-6-49 15,-1-2 8-15,4-1-29 0,0-6-17 0,0-1-25 16,2-4-29-16,-1-3 6 0,2-2-6 0,0-2 24 16,0-3-112-16,2-8-6 0,6 8-115 0,-6-8-214 15,7-7-89-15</inkml:trace>
  <inkml:trace contextRef="#ctx0" brushRef="#br0" timeOffset="44042.31">5826 11139 141 0,'6'-4'373'0,"-6"4"-75"0,13 2-3 0,-8 4-35 0,-1 5 4 16,0 2-31-16,-3 3-15 0,1 5-19 0,-2 3-11 15,-3 2-14-15,2 7-15 0,-2 1-15 16,2-2-4-16,-2 4-19 0,1-2-35 0,-1 3 1 15,0-1-30-15,1 0 2 0,-3-1-23 0,1-1 7 0,0 0-20 16,2 0 10-16,-2-2-24 0,0-1-15 16,0-1-44-16,1-5-15 0,1-1-39 0,-2 0-10 0,2-3-38 15,-1-3-39-15,1 0-3 0,-1-3-60 0,-1 0 1 16,3-4-130-16,-3-2-204 0,0-4-99 0</inkml:trace>
  <inkml:trace contextRef="#ctx0" brushRef="#br0" timeOffset="44367.31">5266 11525 32 0,'0'0'326'16,"-18"2"-18"-16,12 3-81 0,-1 1 21 0,1 3-56 15,2 4-6-15,-2 2-43 0,3 2 39 0,2 2-33 16,1 2-13-16,3 1-1 0,3 3-20 0,2 1-21 15,2 0-3-15,4 0 14 0,3-1-19 0,6 1 16 16,2-1-28-16,2-4 8 0,4-1-9 0,-1-2 3 0,1-6-18 16,1-1 9-16,1-3-19 0,2-2 18 0,-1-2-18 15,-2-2 4-15,0-3-15 0,4-1 4 0,-3-4-20 16,-2-2 12-16,-2-1-16 0,-1-4 8 0,-1-3-21 16,-4 0 14-16,-2-2-8 0,-2 0 22 0,-4 1-6 15,-2 0 5-15,-4 1-10 0,0 0 3 0,-3 2-9 16,-2 2 2-16,0 0-30 0,-3 1-77 0,2 1-83 15,-5 3-69-15,0 1-62 0,2 6-112 0,-8-5-416 16,8 5-370-16</inkml:trace>
  <inkml:trace contextRef="#ctx0" brushRef="#br0" timeOffset="52534.67">2775 5922 102 0,'-10'2'89'15,"10"-2"-10"-15,-14 0-1 0,14 0-17 0,-10 1 6 16,10-1 6-16,-12 0-9 0,12 0-8 0,-11 1-16 16,11-1-4-16,-12 1-7 0,12-1-3 0,-12 0-9 15,12 0-1-15,-12 2-2 0,12-2-6 0,-13 4-4 16,13-4 2-16,-18 5 4 0,11-1-3 0,-2-2-2 16,0 0-2-16,0 2-4 0,1-1-5 0,-2 3 5 15,1-3 0-15,0 2 1 0,1-1 2 0,-2 2-2 16,0-1 1-16,1 1 3 0,0 2 1 0,-2 0-4 15,0 1-1-15,0-1 2 0,1 2-2 0,-1-1-3 0,0 1 4 16,2 0 2-16,-1 1-3 0,-2 1-4 0,2 0 9 16,1-1-6-16,-2 1 1 0,2 1-6 0,0-1 5 15,-1 1 1-15,0 1 0 0,0 2-2 0,0 0-1 16,1 1 5-16,1 0 0 0,1 1 1 0,-2 0 2 16,2 1-4-16,1 0 0 0,0 0 3 0,-2 1-2 15,2-1 2-15,0 0-3 0,3-1 0 0,-1-1 2 0,0 0-7 16,-1 0 1-16,1-1 3 0,3 2 4 0,-3-2-4 15,3 0 0-15,-2 0 0 0,2 1 7 0,-2 0-3 16,2-1-4-16,0 0 2 0,-2 1 2 0,3 1-4 16,-1 0 5-16,-2-1-3 0,2-1 6 0,0 1-1 15,-2 1-3-15,2-1 3 0,0 0-1 0,-2 1-4 16,3-1-2-16,0 0 3 0,-2 1 2 0,2-1-2 16,-3 1 2-16,3 0-3 0,-1-2 4 0,-1 2-6 15,1-2 0-15,1 2 3 0,-1-1 0 0,0 0 0 0,-2-1-1 16,2 1 1-16,-2 0 1 0,2 1-4 0,-3-2 3 15,3-1 0-15,-4-1-3 0,1 2 5 0,0-1-3 16,0 0-1-16,0-2 5 0,0 2-5 0,1-1 0 16,-4 0 3-16,2-2-3 0,1 2 0 0,-1-1 12 0,3-1-15 15,-2 1 1-15,-1 2 4 0,0-2-3 0,1-1 3 16,0 1-8-16,-1 0 6 0,1-1-3 0,0 1 8 16,-1 1-3-16,0-1-2 0,1 0-1 0,0 0 0 15,2-1 1-15,-1 0 1 0,1 2-2 0,0-3 1 16,1 3 1-16,-2-1 1 0,2 0-2 0,1-1 2 15,-1 1-3-15,1 2 1 0,-1-2-3 0,1 0 0 0,0 2 1 16,-2 0-1-16,2-1 4 0,0-2-2 16,0 4 3-16,0-1-1 0,0 1 0 0,0-1 1 0,0 1 8 15,-1 0 3-15,1 2 2 0,0-1-3 0,1 0-2 16,-1-3 7-16,0 3 0 0,0 0 0 0,2 0-1 16,-2-1-1-16,0 1 22 0,1-1-3 0,0 2-2 15,-1-3-8-15,3 1-1 0,-2 0-10 0,2-1 4 16,-2 2-5-16,0-2-2 0,2 1-1 0,-2 0 0 15,3-2-1-15,-3 1 2 0,2 0 3 0,-1 1 18 0,2-2-9 16,0 0 5-16,-3 0-15 0,2-1 19 0,-1-1 11 16,1 0-9-16,1 0-6 0,-2 0-5 0,2 0-2 15,0 0-5-15,1-2-3 0,-3 2 0 0,4 0 7 16,-1 0-3-16,0 1 0 0,0-2-3 0,0 0-6 16,0 0 1-16,0 1-3 0,2-1-2 0,-2 0 3 15,0 0-7-15,3-1 7 0,-3 1-5 0,0-2 0 0,0 1 1 16,0-1-3-16,0 1 1 0,1-1-3 0,1 0 5 15,-2-1-1-15,-1 2 3 0,1-1-3 0,3 0 1 16,-3-1 1-16,0 2-4 0,0-3 1 0,-1 1 6 16,1-1 0-16,3 1 23 0,-5-1-4 0,3 0-4 15,-1-1 0-15,0 2-9 0,-1-4-3 0,2 3-3 0,-2-2 2 16,1 0-2-16,-1 0-3 0,0-1 0 0,1 2 1 16,-1-2-3-16,2 0-3 0,-1 2 4 0,0-1-7 15,2 0 6-15,-2 0-1 0,1 1 3 0,2-1-1 16,-2 1 0-16,1 0-1 0,-1 0 2 0,4 0 1 15,-2 1 1-15,1-2-3 0,1 1 0 0,-1 0 3 16,0-1 0-16,4-1-2 0,-3 0 1 0,-1 0 4 16,5-1-3-16,-4 0 2 0,2 0 10 0,0-2 22 15,0 1-9-15,2-2-4 0,-1 0-9 0,-2 0-1 16,2 0-2-16,0-1-1 0,-1-1-3 0,0 0-1 16,1-2-4-16,0 2 2 0,-3-3-6 0,3 2 2 15,-2-1-1-15,1-2-1 0,-1 0 0 0,1-1 2 16,-2 0-2-16,3 0-3 0,-3-2-10 0,1 0 12 0,1 0 2 15,-3 0-2-15,4-1 0 0,-3-1 5 16,0 0-25-16,0 0 21 0,1-2-20 0,-1 2 26 16,1 0-25-16,-2-3 27 0,0 2-11 0,3-1 1 0,-2-1-12 15,0-1 21-15,1 1-24 0,0-2 27 0,-2 1-25 16,2-1 29-16,-3 1-23 0,1-1 16 0,1 3-3 16,-2-3-2-16,-2 2-1 0,2-2 5 15,-3 2-1-15,5-4-7 0,-3 0 4 0,-1-2 0 0,2 1-4 16,-1 0 4-16,0 0 3 0,-1 0 3 0,-1-2-1 15,2 2 6-15,-1 0 8 0,-1 2-9 0,0-3 3 16,-1-1-3-16,1 2-6 0,-1 0-5 0,2-1 3 16,-1 0 0-16,1 0-4 0,-1-1-17 0,0 1 20 15,0 0-14-15,1-1 11 0,1 0-13 0,-1-1 17 16,1 1-13-16,-1-1 15 0,0 1-12 0,2 0 21 16,-3 0-26-16,3 1 9 0,-2 0-5 0,0 0 12 15,1 0-16-15,-2 0 21 0,0 1-18 0,3-1 6 16,-3-1 4-16,-1 5-1 0,1-4-1 0,-1 4 1 15,1-1 0-15,-1 0-2 0,2 1-5 0,-2-1 1 0,0 0 11 16,1 0 13-16,-1 0-2 0,0 0-3 16,1 0-1-16,0 1-10 0,-2-2 5 0,3-3-1 15,-1 2-3-15,0-3-6 0,0 2 6 0,0-1-2 16,0 0-8-16,0 1 6 0,0-2 1 0,1 2-11 16,-1-1 9-16,1 0-7 0,-2 0 8 0,1 1-10 15,-1 0 12-15,0 2-10 0,0 0 11 0,-2 1-10 16,3-1 11-16,-2 1-8 0,-1 0 2 0,1 0-8 0,-1-1 15 15,1 2-10-15,-2-2 13 0,2 1 13 0,-2 0-4 16,2 0-8-16,-2-1 1 0,0 1-2 0,2-1-6 16,-2 1 2-16,3 1-2 0,-2-1 2 0,1 0-8 15,-2 0 5-15,3-1 0 0,-1 2-5 0,-1 0 4 16,-1-1 1-16,2 1 5 0,0 2 3 0,-1-2-15 16,-2-1 3-16,3 3-3 0,-2-1 5 0,-1 1-5 15,1 0-2-15,2 1 12 0,-3 0-6 0,1-1-2 16,-1 0-3-16,0 1 7 0,1 0-5 0,-1-1-2 15,0 0 3-15,0 0 0 0,0 0 3 0,0 0-2 16,0 0 0-16,0-1 1 0,-1 2-4 0,1-2 2 16,-1 3-6-16,-2-4 7 0,2 1 0 0,-3 1 1 15,3-2-6-15,-3 2 6 0,0 0 10 0,2 0-9 16,-4 0-9-16,3 1 10 0,-5-2-2 0,3 3 0 16,1-2 1-16,-2 1-1 0,-1 1-4 0,2-2 0 0,-1 3 2 15,-2-2 1-15,3 0 0 0,-2 1-1 0,0 1 1 16,1-1 0-16,-2 2-4 0,0-3 6 15,2 2-3-15,-4 1 0 0,1-2-2 0,0 2-24 16,-4 1 26-16,0 0-22 0,-1 0 30 0,1 3-28 0,-3 0 38 16,-1 1-44-16,-2 1-13 0,0 3-31 0,-4 1-9 15,-4 1-53-15,-1 3-51 0,-6 2-80 0,0 1-317 16,-7 3-96-16</inkml:trace>
  <inkml:trace contextRef="#ctx0" brushRef="#br0" timeOffset="54597.3">4134 6046 34 0,'-10'3'81'0,"1"-1"-6"0,-1 0-17 0,2 1-10 16,8-3-4-16,-14 3-14 0,14-3-11 0,-16 5 4 0,16-5-9 15,-12 4 0-15,12-4-12 0,-14 6 12 0,14-6-9 16,-13 4 6-16,13-4-10 0,-14 5 6 0,14-5-11 16,-12 5 5-16,12-5 0 0,-10 6 3 0,10-6-7 15,-14 5 10-15,9-1-8 0,-2 0 5 0,0 1-3 16,-1-1 7-16,-1 2-9 0,0-1 7 0,-1 0-2 15,1 1 3-15,0 1-12 0,-1 0 15 0,1-3-5 16,-1 4 8-16,-2-1-6 0,2 0 8 0,1 1-12 16,0-2 7-16,-1 2-14 0,2-1 15 0,-2 0-5 15,0 1 9-15,1 1-8 0,0 1 4 0,-1-2-3 16,-1 3 2-16,2-2 3 0,-1 2 8 0,3-1-8 16,-2 2 4-16,0-1-7 0,-1 0 3 0,-1 3-4 15,2-3 10-15,-2 1 10 0,-2 3-9 0,4-3-1 16,-2 0 0-16,-1 2 2 0,3 0-2 0,-1-2-7 15,1 1 0-15,1 1 0 0,-2 0-4 0,1 2-2 0,0-1 9 16,-1 0 0-16,2 0 17 0,2-1 2 16,-2 1-15-16,2 0 2 0,-3 1-3 0,4-2-3 15,-2 2-5-15,2-1 11 0,-2 2 4 0,2 0-6 16,-2 1 14-16,2 1-6 0,0 2-6 0,1-1 1 0,-2 0-6 16,1 3 1-16,-1 0-5 0,1 0 1 15,0 1-5-15,0 5 4 0,-3-1 13 0,2 2-8 16,0-1-1-16,-1 1 4 0,0 2-8 0,2-4 4 0,-2 1-5 15,3-4 0-15,0 0 0 0,2 0-2 0,-1-1-2 16,-3-1-1-16,5 2 0 0,-2-2-2 0,1-2 1 16,-2 2 4-16,1-1-2 0,1 0-30 0,-1-1 31 15,2 1-24-15,-2 0 31 0,3-2-20 0,-4 3 23 16,3 1-31-16,1-3 30 0,-1 1-7 0,-3-1 1 16,4-1-3-16,0 1 1 0,-1 3 2 0,1-3 6 15,0 0 5-15,1-1-5 0,-1 0-3 0,4 1 0 16,-3 2-5-16,0 0 3 0,0-3 3 0,1 0-2 15,-1 0-3-15,2-1 18 0,-2 1 1 0,0-1-10 16,2-1 2-16,-2 2-8 0,-1-1-4 0,3-1 4 16,-2 1-6-16,2-1-1 0,-2 0 9 0,0 0 3 15,-1 0-10-15,3-2 2 0,-2 2-32 0,1-1 38 16,0-1-33-16,0 0 32 0,-2 0-33 0,1 1 37 0,2 0-34 16,-3-1 56-16,3 0-28 0,-2 0 25 15,0 0-30-15,2-1 28 0,-2 2-31 0,0 0 28 16,2-1-17-16,-2-1 24 0,2 2-31 0,-2-1 21 15,2 0-28-15,-1 0 21 0,1 0-27 0,-1 0 48 0,1-1-32 16,-2 1 23-16,3-1-30 0,-3-1 25 0,3 1-29 16,0-2 15-16,-2 1-21 0,1-3 19 0,2 0-4 15,0 3 6-15,0-5-2 0,0 3-7 0,2 0 5 16,-2-1 7-16,4 0-2 0,-1-3 18 0,-1 3-22 16,2-3 12-16,1 0-17 0,1 0 13 0,0 0-1 15,1-2 16-15,-1-1-6 0,6 0 3 0,-3-1-5 16,2-1-11-16,1 0-5 0,2-2 4 0,-1 0-13 15,3-2 8-15,0 0-7 0,2-1 1 0,3 0 2 16,-2-2 1-16,3-1-7 0,-2 1 3 0,2-1 1 16,0-1-3-16,-1 0 2 0,-2 0-7 0,2-1 6 15,3-2 4-15,-5 2-6 0,0-1-1 0,1 0 8 16,-3-1 5-16,1 0 9 0,-1-1-6 0,4 0 5 16,-2-3-5-16,2 0 13 0,-2 0-5 0,3-1 16 15,-2-1-3-15,0-2-11 0,1 1-4 0,-1-1 7 0,1 0-1 16,-2-1-33-16,-2 0 37 0,1-1 4 15,2-3 16-15,-3 2-27 0,-2 1 12 0,1-1-26 16,-1-2 25-16,-2 2 6 0,0-2 11 0,-3 0-26 0,2-1 8 16,-3-2-20-16,3 0 11 0,-5-2-21 0,5-5 13 15,-3 0-17-15,3 0 15 0,-3-1-20 16,1 0 16-16,-2-2-21 0,2 0 18 0,1 1-10 0,-1 1 8 16,-5 5 1-16,3 0 1 0,0 0 23 0,-2-1-10 15,1 2-1-15,-2 0-15 0,0-1 8 0,1 2-12 16,0-3 9-16,-2 1-14 0,2-2 12 15,-3 0-14-15,1 2 13 0,1-4-14 0,-1 0 13 0,0-3-11 16,1-2 8-16,0 0-10 0,-1 0 13 0,-1 0-12 16,2-2 11-16,-2 0-13 0,0 7 14 0,-2-3-16 15,2 3 17-15,-3-1-13 0,1 3 12 0,-2-3-15 16,-1 2 13-16,-2 4-12 0,1 1 42 0,0-2-14 16,-1 2-2-16,-2-1-12 0,-1 1 5 0,0 1-1 15,-1-1-5-15,-2 0-2 0,0-3 0 0,-1 2-1 16,-2-3-5-16,-2 2 0 0,1-2 1 0,-1 1-2 15,-2-1 0-15,1-3 5 0,-3-2-2 0,1 2 0 16,-1 0 7-16,0-1-5 0,-2 1 4 0,2 0-6 16,-1 2 2-16,0-2-10 0,-2 3 0 0,0-2 5 0,-2 2-7 15,1 1 1-15,-3 0 3 0,-2 2-1 16,-2 0 0-16,0 2 1 0,-5 3-1 0,0-1 5 16,-6 3-4-16,0 0 3 0,-5 4-46 0,0 0-31 0,-3 1-3 15,-3 3-12-15,-1 3-25 0,-4 0-6 16,-1 3-47-16,-3 4-50 0,-2 1-25 0,0 2-82 0,-2 0-388 15,-12 5-224-15</inkml:trace>
  <inkml:trace contextRef="#ctx0" brushRef="#br0" timeOffset="56671.57">6902 5819 74 0,'-10'2'75'0,"0"2"-11"0,1 1-24 0,1-1 12 0,-1 0-24 0,-1 1 0 15,1 2-12-15,-1 0 7 0,-2 2-3 16,2 0-10-16,-3 1 0 0,3 1-2 0,0 0 3 16,-1 1 12-16,0 2 1 0,-2-1 1 0,3 3-1 15,0 0-6-15,1-1-13 0,0 2 17 0,0 0-7 16,0 1 3-16,1 1-7 0,-3 0 13 0,2 2 1 16,1-2 4-16,-2 3-6 0,0-1 16 0,2 1-2 15,-2 3 6-15,-2-1-2 0,2 1-8 0,1 0-3 0,2-2-6 16,-4 3 1-16,2-1 13 0,-1 2-2 0,1 1-5 15,0 1 15-15,-1-1-6 0,1 1-6 0,0 0-5 16,-2 1-2-16,2 0 11 0,1 0-1 16,0-1-8-16,-2 0-3 0,1-1 12 0,3 1-3 0,-1 1-6 15,-2-1-3-15,3 0-2 0,1-1 2 0,0-2 27 16,1-1-9-16,-1 0-12 0,0 0-3 0,1 1-9 16,0-2-3-16,0 1-2 0,3-1-2 0,-3 1-2 15,1-1 1-15,2 2 8 0,-3-1 2 0,1 0 3 16,0 0 4-16,2-1-11 0,0 0 13 0,-2 1-4 15,2-2 18-15,-1 0-32 0,1-1 24 0,0 0-33 16,1-1 16-16,-1 0-13 0,-1 0 20 0,1-1-29 16,1 2 23-16,0-2-27 0,0 1 26 0,-1 1-18 15,1 0 14-15,0 0-22 0,0 1 25 0,-2 2-6 16,2 0 21-16,0-1-27 0,-1 0 23 0,1 1-8 16,0-1 18-16,0 1-25 0,0-3 15 0,0 2-18 15,0-3-1-15,1 2-2 0,1 1 29 0,-1 0-9 16,-1-1 8-16,3 0-16 0,-2 0 11 0,0 0-15 0,2-1 7 15,-2 0-13-15,3-1 9 0,-2 2 21 16,1-1 0-16,2 1-14 0,-3-2 0 0,2 1-3 0,0 0-4 16,1 0 0-16,-1 0-5 0,4 1-5 15,-3-2-2-15,0-1 0 0,3 3-4 0,-2-3-3 0,3-1 6 16,-1 1-5-16,-2-2 4 0,3 0-11 0,1 1 14 16,-1-1-10-16,0-2 9 0,3 1 4 15,-2 0 35-15,0-1-23 0,2 0 7 0,-2-1-21 0,-1-3 13 16,2 3-17-16,-2-3 10 0,2 0-17 0,1 0 19 15,-2-1-17-15,2 0 17 0,1-3-11 0,-2 3 4 16,3-4-15-16,-1 1 16 0,0-1-20 0,2-1 22 16,-2-1-12-16,4 1 13 0,-3-3-18 0,4 1 10 15,-1-2-10-15,1 0 16 0,3-1-10 0,-3 1 20 16,2-2-19-16,0-2 17 0,1 2-23 0,-1-1 22 16,2-1-28-16,-4 0 26 0,4-1-15 0,-2 1 21 15,-2 0-21-15,3-2 17 0,-2-1-2 0,3 0 8 16,-1 1-15-16,1-3 16 0,-3 0-21 0,2 1 15 15,0-1-24-15,0-1 22 0,-1 0-21 0,2-1 23 0,-3 0-18 16,3-1 19-16,-2 0-2 0,-1-1-4 0,2-1-1 16,-1 2-1-16,-2-4 1 0,3 2-4 15,-3 0 1-15,-1-2-2 0,1 1 0 0,-1-1-2 16,2 0 2-16,-1-3 0 0,1-1-1 0,-5 4-2 0,3-3-2 16,-3 2-2-16,3-4-3 0,-1 0 2 15,-1-1-11-15,1-1 13 0,-2 0-19 0,0 0 17 0,0-2-13 16,-1 1 11-16,1-1-14 0,-3-1 18 0,2 0-16 15,-1 1 17-15,-2-2-19 0,0 5 19 0,-1-2-15 16,-1 0 14-16,1 2-13 0,-2-2 16 0,2 2-18 16,-2-2 18-16,-1 1-15 0,2-1 14 0,-2 0-16 15,-1 2 15-15,2-2-11 0,-2 0 13 0,1-1-1 16,0-1-9-16,1 1 10 0,-2 0-3 0,3-5-5 16,-1 1-13-16,1-1 14 0,0 2-20 0,-2-3 17 15,3 3-8-15,-1 0 42 0,-2 1-19 0,2-1 9 16,-1 3-17-16,0-1 15 0,-1 1-17 0,1 0 13 15,-1 1-20-15,0-1 22 0,1 0-2 0,-2 1 11 16,-1 1-17-16,1-1 6 0,-1-1-10 0,1-1 6 16,-3 0-9-16,2 1 7 0,1-4-17 0,-2 2 14 15,1-1-9-15,0-3 10 0,-1-2-9 0,4 3 9 16,-4-3-10-16,3 0 9 0,-4 5-15 0,2 0 11 16,1-1-15-16,-2 1 15 0,-1 0-11 0,3 0 10 15,-4 1-11-15,1 0 2 0,-1 1-2 0,-1 0 2 16,0 2 5-16,0 0-3 0,0-1 2 0,-1 0 2 15,-2-1-4-15,1 2 2 0,-3-2 1 0,2 1 0 0,-2 1 2 16,0-1-1-16,0 0 8 0,-3-1-8 0,2 1 7 16,-2-3-7-16,-2-1 8 0,0 1-10 0,1 0 8 15,-2-1-8-15,0 3 8 0,1-2-9 0,-2 0 10 16,-1 2-10-16,3-1 11 0,-3 1-16 0,-1 0 12 16,1-1-12-16,-2 1 11 0,1 0-10 0,-1 0 1 15,-2-1-2-15,1 1 6 0,-2 1-5 16,0-1 2-16,-4-3 0 0,-3 2 4 0,3 0-2 0,-5 1-1 15,3 1 0-15,-3 3 2 0,3 2 2 0,-1 1-5 16,-3 1 5-16,0 3-37 0,0 0-2 0,-3 1-4 16,1 3-5-16,-4 0-7 0,1 2-2 0,0 1-18 15,-4 1-14-15,2 4-16 0,2 1-27 0,-4 2-31 16,0 3-59-16,-6 2-70 0,0 4-420 0,2 0-218 16</inkml:trace>
  <inkml:trace contextRef="#ctx0" brushRef="#br0" timeOffset="58120.84">8635 5720 105 0,'-4'-8'148'0,"-2"2"-23"15,-1 0-11-15,2-1-17 0,-5 0-20 0,2 0-10 16,-1-2-13-16,-1 1-8 0,0-1 22 0,1 2-12 15,-1-1-11-15,-3 1-4 0,1 1-3 0,0-1-11 16,0 2-6-16,-3 0-7 0,3 3 3 0,0-2-5 16,-4 2-5-16,2 1 0 0,-1 2-3 0,-2 1 0 15,-1 0 2-15,2 2 0 0,-2-1-5 0,0 3-6 16,0 1 5-16,-1-2 0 0,1 4 2 0,-1-1-4 16,-2 0-2-16,5 2 3 0,-3 1 6 0,3 0-10 15,-3 2 2-15,5-1-1 0,-3 1 4 0,3 2-2 16,-1 0 1-16,2 1-4 0,-1 2 5 0,0 3-1 0,0 0 2 15,0 1 2-15,0-1-1 0,1 2 6 0,3 1 0 16,-3 1-6-16,3-1 2 0,2 3 2 16,-2-1-6-16,4 2 0 0,-2-1 0 0,4-1 5 0,-2 3-5 15,-1 3-3-15,4-3 2 0,-1 3 0 0,0-1 2 16,0 0 1-16,0 0 0 0,0 1 2 16,-2-1-1-16,4 0 2 0,-2-1 2 0,0 0-2 15,0-3-10-15,1 0 10 0,1 0 0 0,-1-1 1 0,1 1-26 16,-2-1 43-16,3 0 0 0,-1 2-3 0,1-1 18 15,1 1-6-15,-1-1-2 0,0 1-6 0,1 3-4 16,0-4 1-16,-2 3 19 0,2-1-5 0,0 0-5 16,0 0-9-16,2-1 2 0,-2 1-5 0,0-1 0 15,2 0-1-15,-2-1-3 0,0 0 42 0,1 0 0 16,1-1-12-16,-1 2-6 0,0-3-34 0,2 0 35 16,-1 1-31-16,-2-1 24 0,3-2-30 0,-2 3 26 15,0-2-24-15,2 1 26 0,0 0-25 0,-1 0 59 16,-1 1-30-16,2 0 18 0,0 0-31 0,-2 1 20 15,1-1-6-15,2 1 29 0,0-1-30 0,0 2 14 0,0 0-29 16,-1 4 11-16,3-5-20 0,-1 3 16 16,1-2-13-16,0 1 26 0,2-2-5 0,-1 1 3 15,0-3-12-15,2 2-3 0,-2-3-6 0,-1-1 4 16,2-1-7-16,-1 1 4 0,0-1-11 0,0-1 3 0,1 1 23 16,1-2 4-16,-1 0-10 0,-2 0 2 0,3-1-4 15,0-1-3-15,0 1-3 0,0-1-2 16,0 0-3-16,0-1 1 0,0 1-4 0,0-2-3 0,1 1 3 15,0-2-1-15,3 2 1 0,-3-1-21 0,2-1 21 16,0-1-3-16,0 2 0 0,-1-2 4 0,3 0 6 16,-1-2 16-16,1 0-30 0,-1-2 21 0,0 0-17 15,1 1 11-15,0 0-15 0,4-1 13 0,-3 0 0 16,3-1-14-16,2 0 20 0,-3 0-20 0,3-2 13 16,1 1-13-16,-2-2 11 0,2 0-17 0,-2 0 17 15,-1-2-16-15,2 0 24 0,-2-2-9 0,4 0 34 16,1-2-21-16,-2 0 18 0,1-1-25 0,4-1 18 15,-1-2-26-15,1 0 20 0,-1-3-20 0,5-1 16 16,-3-1-22-16,2-1 18 0,-1-2-3 0,5-5-6 16,-1 0-1-16,-1-2-4 0,1-3-1 0,-1 0-1 15,-2-2 1-15,-1-2 1 0,0-1-6 0,-1-1-3 16,1-2 0-16,-4-2-19 0,2-3 19 0,-3 0-15 0,0-1 19 16,0-4-21-16,0 1 22 0,0-8-21 0,-1 6 18 15,-2-2-12-15,2-5 14 0,-3 6 33 16,0-1 4-16,-2-1-7 0,2 2 3 0,0-9 7 15,2-2-15-15,-2 0 2 0,-2-1-20 0,-1-4 8 0,1-1-9 16,-1-2 8-16,-2-1 13 0,2-3-6 16,-5 1 0-16,3-3 1 0,-5 4-1 0,0-3-3 0,-2 1-2 15,-2-1-9-15,-3 8-1 0,-1 0-7 0,-2-11 4 16,-1 3-6-16,-6 0 5 0,-2 2-4 0,-4 2 4 16,-4 2 2-16,-6 2-12 0,-3 3 5 0,-6 1-1 15,-3 2 1-15,-7 2-6 0,-4 1 6 16,-3 3-5-16,-5 2-3 0,-3 2-58 0,-5 2-34 0,-2 1-28 15,-8 8-35-15,0-1-21 0,-2 5-59 0,-7 4-51 16,-4 3-98-16,-2 5-394 0,-6 4-309 0</inkml:trace>
  <inkml:trace contextRef="#ctx0" brushRef="#br0" timeOffset="62185.63">3564 12479 143 0,'5'7'323'0,"-5"-7"-42"15,4 5-49-15,-4-5 33 0,0 0-55 0,4 6 23 0,-4-6-25 16,0 0-3-16,4 4-12 0,-4-4-31 16,0 0-20-16,0 0-41 0,0 0-12 0,12-5-27 15,-8-1-3-15,1-2-19 0,4-1 1 0,3-1-24 16,2-4-13-16,5-3-40 0,3 0-45 0,5-4-62 16,2 0-76-16,4-2-92 0,2-1-394 0,2 2-209 15</inkml:trace>
  <inkml:trace contextRef="#ctx0" brushRef="#br0" timeOffset="63840.43">8252 12364 197 0,'0'0'334'0,"0"0"-79"0,-4-7-18 16,4 7-75-16,-3-7-44 0,3 7-22 0,0-8-21 15,0 8-13-15,0-9 4 0,0 9 15 16,0-10-3-16,0 10-8 0,3-9-12 0,-2 3-13 0,-1 6-9 16,4-9-7-16,-2 3-5 0,1 0-2 0,-3 6-10 15,8-10 0-15,-6 5-6 0,-2 5 1 0,8-9-3 16,-3 4 1-16,-1-1 4 0,0 2-8 0,0 0 0 0,-4 4 0 15,10-10-2-15,-10 10-2 0,9-7 5 16,-9 7-1-16,9-6-5 0,-9 6 11 0,11-4-13 16,-11 4 0-16,13 0 4 0,-13 0 2 0,11 5 5 15,-2 0-8-15,-5 1 3 0,3 2 3 0,-2-1-1 16,-1 4 2-16,-2-1 1 0,1 2-3 0,-2 1-2 16,-1-1 27-16,0 3-32 0,-1 0 25 0,-3 2-29 15,0-1 33-15,0 1-32 0,-2-1 26 0,0 1-33 0,-1 0 29 16,2-2-30-16,-2 1 31 0,2-2-29 0,0-1 24 15,0 1-28-15,0-4 29 0,3 1-26 16,-1-1 25-16,-1-2-29 0,3-1 32 0,-2 1-26 0,2-4 27 16,1-4-22-16,-1 12 39 0,1-12-14 0,2 5 31 15,-2-5-27-15,11 2 11 0,-11-2-28 0,13-2 25 16,-5-1-27-16,1 1 22 0,2-4-24 0,0 2 24 16,-1-1-22-16,3-1 18 0,-2-1-24 0,2 1 13 15,1-2-46-15,-2 0 17 0,0-1-17 0,0 1-2 16,2 0-53-16,-2-2 38 0,-2 2-36 0,1-2 30 15,-2 1-39-15,-1-2 27 0,1 1-13 0,-3 0 26 16,-2-2-26-16,0 2 35 0,-2-2-16 0,1 0 0 16,-3-1 8-16,0-2 13 0,0 2 5 0,-4-2 10 15,2 0 4-15,-2 0 8 0,-3-1 2 0,0 0 13 16,-2 0 5-16,-2 2 11 0,-1-1 6 0,-1 0-1 0,-2 1 33 16,-2 2-37-16,-1 0 41 0,0 2-31 15,-2 2 19-15,-2 3-38 0,0 0 28 0,2 4-35 16,-2 1 25-16,2 1-33 0,-6 4 4 0,3 2-2 0,-1 7 2 15,0 1 7-15,-1 8 49 0,2 5-26 16,4 4 31-16,2 6-19 0,4 3 55 0,2 4-13 16,6-1 18-16,1 4-40 0,4-1 49 0,3 1-37 0,3-4 8 15,3 0 8-15,5-1-52 0,2-4 47 0,1-3 19 16,4-3-21-16,2-4 37 0,1-2 5 16,3-5 10-16,-3-7-26 0,4-3 7 0,3-1-8 15,0-4 3-15,1-3-27 0,-2-3 1 0,1-2-25 0,3-3 7 16,1-2-21-16,-3-4 14 0,4-1-13 0,-3-6-1 15,-4-2-5-15,-2-4-6 0,-4-3-4 0,-6 3-6 16,-3-5-5-16,-6-2-2 0,-3-3 4 0,-5-3-2 16,-3-4-3-16,-6-2-3 0,-3-1-1 0,-4 0-5 15,-3 4-9-15,0-1 16 0,-4 3-16 0,-3 1 9 16,-2 1-14-16,-1 3 6 0,-2 3-31 0,-2 2-16 16,-2 4-27-16,1 1-13 0,-2 5-21 0,-2 4-20 15,-2 2-44-15,7 5-39 0,-3 2-35 0,-1 3-34 16,-3 2-60-16,3 3-332 0,0 1-184 0</inkml:trace>
  <inkml:trace contextRef="#ctx0" brushRef="#br0" timeOffset="64609.16">3504 12285 153 0,'-8'-14'400'0,"-1"5"-72"0,4-1-28 16,0 3-83-16,0 1-60 0,1 0-34 0,4 6-28 0,0 0-15 16,0 0-17-16,-9 6 3 0,9 2 28 0,1 3-37 15,2 3 12-15,2 3-31 0,0 4 12 16,3 1-27-16,1 4 16 0,2 0-19 0,1 1 10 0,-2-1-21 16,4 0 20-16,0 1-22 0,-1-2 17 0,0 1-10 15,-1-1 13-15,0-2-17 0,1 2 10 0,-2-5-67 16,-2-2-16-16,-1 0-66 0,2 0-16 0,-4-5-81 15,1 1 6-15,-2 0-52 0,0-6-182 0,-2 2 69 16</inkml:trace>
  <inkml:trace contextRef="#ctx0" brushRef="#br0" timeOffset="65105.15">3387 12114 69 0,'-17'-4'184'0,"0"2"-36"0,-2 2-26 16,1 1-11-16,-4 1-22 0,1 5-19 0,-1 1-26 15,-4 4 30-15,2 4-33 0,-3 4 47 0,0 5-12 0,3 4-6 16,3 2-4-16,1 3-2 0,6 2 1 0,0 3-1 15,5 1 12-15,1 1-4 0,7-4-7 0,1 0-4 16,2 1 0-16,5 2-30 0,5-1 42 0,0-2-41 16,4-1 27-16,3-2-25 0,0-3 1 0,4-1 20 15,3-4-14-15,0-1 25 0,4-4 6 0,2-2-8 16,-4-4-4-16,2-5-7 0,1 0 5 0,4-4-8 16,-2-3-1-16,-4-2-6 0,2-2-9 0,2-1-3 15,2-4-1-15,-3-5-4 0,5-2-8 0,-4-4 0 16,1-3-1-16,-3-4-6 0,-4-1 3 0,0-6-9 15,-4 1 13-15,-4-4-15 0,-5-2 3 0,-1-3-3 16,-7 1 4-16,-2 3-6 0,-4 0-1 0,-3 0 11 16,-2 2 35-16,-5 1 10 0,-1-3 4 0,-6 2-9 15,-1 3-2-15,-4 2-11 0,-3 2-24 0,-2 3 15 16,-4 3-21-16,-1 2 11 0,-1 3-16 0,3 5 12 16,-1 1 1-16,-2 2-4 0,5 4-9 0,-2 0-39 15,-1 2-26-15,2 2-28 0,-4 4-37 0,1 1-45 16,1 3-1-16,2 1-63 0,1 2-34 0,2 3-86 0,2 0-207 15,2 2-78-15</inkml:trace>
  <inkml:trace contextRef="#ctx0" brushRef="#br0" timeOffset="71364.75">2691 7099 67 0,'0'0'137'16,"-14"-5"-7"-16,6 3-11 0,-1 0-19 0,2 0-15 15,-2 0 1-15,1-2-8 0,-1 1-17 0,9 3 0 16,-14-3 2-16,14 3-3 0,-14-5-9 0,14 5-7 16,-10-2-14-16,10 2 0 0,-9-3-12 0,9 3-8 15,0 0-5-15,-13-3 1 0,13 3-6 0,0 0 3 0,0 0-3 16,0 0 0-16,0 0 4 0,0 0-1 0,0 0-4 16,0 0 6-16,9 5 4 0,-9-5 3 0,17 2 17 15,-6-2 3-15,3 1-8 0,3-1 12 16,2 0 3-16,4 0 2 0,1 0-21 0,3 0 13 0,4 0-8 15,-1 0 2-15,4 0-7 0,3 0 12 0,0 0-15 16,1 0 13-16,4 1-12 0,-3-1 6 16,2 2-1-16,2-1-2 0,-1-1 7 0,8 1-3 0,0 0-5 15,0 0-13-15,-3 0 9 0,4 1-11 0,-1-1 11 16,-3 1-11-16,3 0 12 0,-9-1-23 0,9 1 15 16,-8-1-2-16,0 2 6 0,-1-2-6 0,0 2 4 15,1 0-4-15,-2 0-1 0,1 0 1 0,-3 0-5 16,3 0 7-16,0-1-6 0,-3 2 7 0,4-1-5 15,-2 0-4-15,0 0 1 0,2-1-2 0,-3 0-4 16,1-1-12-16,2 2 10 0,-1-2-10 0,1 0 19 0,3-1-6 16,-3 0-9-16,3-1 10 0,5 1-1 15,-7-1-2-15,6 0 12 0,-6-1-13 0,-1 1 0 16,8 0 4-16,-9-1 1 0,3 2-2 0,-2-3-5 16,-3 2 4-16,3-2 0 0,2 1 0 0,-3 1-2 15,0 0 3-15,1-1 0 0,-3 1-2 0,1 0 10 16,2 0-5-16,-1 0-4 0,0 1-2 0,0-1 4 15,-1 0 0-15,1 1 0 0,-2 0-2 0,1 0 3 0,-2-2-2 16,0 2-4-16,3-1 3 0,-4 1-4 16,2 0 13-16,-1-1-3 0,-1-1-1 0,0 2 2 15,0-2 1-15,-4 2 3 0,3-1 2 0,-4 1-13 16,0 0 8-16,0-1-1 0,-1 1 2 0,1 0-9 0,0-2 14 16,0 1-4-16,1 0-7 0,-1 0 11 0,2 0-7 15,-3 0-1-15,1-2 0 0,-3 1-2 0,2-1 0 16,0 0 3-16,-2 0 0 0,-1 0 7 0,-1-1-4 15,1 2-2-15,2-2 5 0,-4-1-2 0,1 1 0 16,0 0-3-16,-2-1 4 0,1-1-4 0,-2 1-1 16,1 1-1-16,-1-4 3 0,-1 4-5 0,-1-2 5 15,-2-2-2-15,2 1-1 0,-3 1-1 0,3-2-2 16,-2 1 4-16,-2-2-2 0,3 1 0 0,-2-1-26 16,-1 1 20-16,1-2-17 0,-3 1 31 0,2 0-26 15,-1-1 28-15,-2 1-24 0,-1 0 26 0,0 0-29 16,-1 0 28-16,1-1-29 0,-2-1 28 0,-2 0 3 15,3 1-6-15,-3-1-4 0,3 0-9 0,-4-1 8 16,1 0-1-16,1-3-4 0,0 1-1 0,0-1 1 16,-1 0 4-16,1 1-2 0,-1-1-3 0,1 0 0 0,-1 0 0 15,2 0 1-15,1 0-1 0,-2-1-4 0,3 1 5 16,-1 1-3-16,0-1 5 0,2 1-5 16,1-2-2-16,-1 0 5 0,-2 1-1 0,1 1 1 0,-3-1 2 15,3-1-3-15,-2 1 10 0,-2 1 13 0,3-2 16 16,-3 0-8-16,-1 0-5 0,0-1 3 0,-1 0-2 15,-2-1-13-15,2 0 10 0,-2 0 20 0,-1 1-9 16,-1 0 3-16,-1 0-23 0,-1-1 18 0,-1 0-23 16,1-1 17-16,-2 1-28 0,0-1 26 0,-2 1-17 15,0 0 11-15,-2 1-18 0,0-1 11 0,-2-1-6 16,-2 0 4-16,-2 1-1 0,0 0-7 0,-3 1-2 16,-4-2 1-16,-1 0 4 0,-1 1-4 0,0 1 0 15,-4 0-2-15,0 0-2 0,0 1 10 0,-4 1-11 16,2 1 5-16,-4 2-21 0,0-3 27 0,1 3-35 15,-1 0 35-15,-2 1-19 0,0 2 20 0,1-2-20 16,-2 3 12-16,0-1-6 0,-2 2 24 0,1 2-8 16,0-2-2-16,0 3 0 0,-2 1 2 0,2-1-4 15,-4 1-2-15,3 1-18 0,-2 0 24 0,-1 1-19 0,-1-1 22 16,-1 2-26-16,-1-1 26 0,1 1-28 16,-2 0 31-16,-1 1-31 0,-1-1 26 0,0 0-18 15,1 2 16-15,-8-1-15 0,8 0 19 0,-8 2-19 0,9-1 13 16,-6 0-16-16,5 1 21 0,-6-1-21 0,9 0 20 15,-2 1-20-15,0 1 19 0,-5 0-22 0,0 0 16 16,0-1-10-16,0 2 15 0,-1 0-19 16,0 0 16-16,0 0-18 0,1-1 26 0,0 3-22 0,1-4 22 15,1 2-26-15,4-2 22 0,-6 3-32 0,7-2 38 16,0-2-24-16,1 3 10 0,-3-1-6 0,4 0 13 16,-3 0-14-16,3-1 17 0,-5 1-15 0,4 0 17 15,-7 1-25-15,4-1 30 0,3 0-27 0,-2 0 23 16,-6 2-17-16,8-2 18 0,-2 0-16 0,1 0 11 15,-6 2-21-15,6-1 23 0,0-3 2 0,2 3-4 16,-2-1-2-16,4 0 5 0,-1 0-10 0,0-2 2 16,-1 2 0-16,8-1-3 0,-2-1-1 0,2 1 2 15,-1 0-1-15,2-2-3 0,1 1 5 0,-2 2-2 16,1-2-2-16,1 1 1 0,0 0-3 0,0 1 6 16,2-2-3-16,-1 1-1 0,2 0-1 0,-2 1 1 15,2 1-1-15,-1-3 3 0,-1 3-8 0,1-2-2 16,0 1 6-16,-1 1-3 0,1-1 1 0,1-1-1 15,-1 1 3-15,1 0 6 0,0 0-7 0,-2-1 3 0,2 0-3 16,2-1-2-16,-1 1-1 0,3 0 0 16,-3 0 5-16,1-1-6 0,0 1 2 0,3-1 4 15,0-1 1-15,0 0-4 0,1 1 1 0,0-1 3 0,1 0 4 16,2 1-4-16,0-1 2 0,-1-1-2 16,2 1-3-16,-1 0 2 0,1-1 4 0,-1 1-3 0,-1 0-3 15,1-1-4-15,1 2-9 0,-4-1-1 16,1 0 8-16,-1 0-7 0,1 0-1 0,0 0-3 0,-2 1 3 15,1-1-3-15,-3 0 4 0,1 2 2 0,2-2-3 16,-2 1-9-16,-2 1-6 0,1-1-1 0,-3 0 5 16,0 2 6-16,0 0 0 0,1 0 1 0,-3 1 7 15,2 0-2-15,0 0 7 0,-2 2-6 0,3-2 7 16,-3 2-6-16,2 0 12 0,0-1-8 0,2 2 11 16,-2-1-9-16,1 0 8 0,0 0-3 0,2 0 0 15,0 1 4-15,-1-1-3 0,3-2 1 0,-3 4 3 16,3-3-2-16,1 1 1 0,-1 2-35 0,1-5-35 0,4 4-30 15,0 0-49-15,-2 0-36 0,5 0-128 0,-3-1 228 16</inkml:trace>
  <inkml:trace contextRef="#ctx0" brushRef="#br0" timeOffset="-136328.69">29203 9249 2 0,'-4'-9'371'0,"-1"1"-28"15,1 2-66-15,2 1-26 0,-1-1-45 0,3 6-45 16,-7-8-37-16,7 8-22 0,-5-5-25 0,5 5-9 16,0 0-21-16,-8-4-8 0,8 4 18 0,0 0 31 15,-7 6-19-15,7-6 14 0,-3 6-16 0,3-6-14 16,-2 7 5-16,2-7 7 0,5 8 1 0,2-6 24 15,3-1-4-15,7-1-21 0,4-1 0 0,9-2-24 16,5-5 7-16,10-1-5 0,1-2-8 0,0 0-5 16,0-2-19-16,-4 1-42 0,-2 0-65 0,0 0-109 0,-10 2-62 15,0 1-184-15,-10 0-226 0,1 1-183 16</inkml:trace>
</inkml:ink>
</file>

<file path=ppt/ink/ink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0-16T04:19:13.235"/>
    </inkml:context>
    <inkml:brush xml:id="br0">
      <inkml:brushProperty name="width" value="0.05292" units="cm"/>
      <inkml:brushProperty name="height" value="0.05292" units="cm"/>
      <inkml:brushProperty name="color" value="#FF0000"/>
    </inkml:brush>
  </inkml:definitions>
  <inkml:trace contextRef="#ctx0" brushRef="#br0">19159 14762 311 0,'0'0'236'0,"11"-1"15"16,-11 1-1-16,7 2-37 0,-7-2-33 0,5 9-18 0,-5-9-27 15,0 10-28-15,-1-1-17 0,0 0-20 0,-2 2-7 16,1 1-12-16,0 0-4 0,-3 0-10 0,4 4-74 15,-1-2-46-15,0 0-61 0,0 0-78 0,-1-1-315 16,3-1-42-16</inkml:trace>
  <inkml:trace contextRef="#ctx0" brushRef="#br0" timeOffset="-135933.46">31078 10850 171 0,'0'0'409'0,"-4"-6"-70"0,4 6-53 0,0 0-58 16,0-7-38-16,0 7-36 0,7-5-21 16,-1 1-6-16,5 2 15 0,4-2-17 0,5 2-35 15,4-1-14-15,6-2-14 0,4 2-19 0,3 1-58 0,2-1-27 16,3 3-100-16,-3 0-107 0,2 0-423 0,-2 0-182 16</inkml:trace>
  <inkml:trace contextRef="#ctx0" brushRef="#br0" timeOffset="-119407.25">19986 13376 142 0,'0'-9'275'15,"3"2"-84"-15,-3 7-41 0,1-9-33 0,-1 9-20 16,0 0-41-16,0 0-29 0,0 0-15 16,5 6-31-16,-5-6-14 0,3 11-20 0,-2-3-19 0,4 2-22 15,-2 2-157-15,-1 2 79 0</inkml:trace>
  <inkml:trace contextRef="#ctx0" brushRef="#br0" timeOffset="-118989.61">20238 14836 17 0,'-1'8'459'0,"1"-8"-135"16,0 10-78-16,0-10-54 0,-2 9-70 0,2-9-78 15,0 7-23-15,0-7-48 0,2 10-45 0,-2-10-54 16,2 9-255-16,-2-9 163 0</inkml:trace>
  <inkml:trace contextRef="#ctx0" brushRef="#br0" timeOffset="-118794.46">20358 15362 149 0,'0'0'370'0,"-4"7"-105"0,4-7-89 0,-5 10-93 0,1-6-98 16,-2 3-104-16,2-3-165 0,2 2 260 0</inkml:trace>
  <inkml:trace contextRef="#ctx0" brushRef="#br0" timeOffset="-100452.89">27969 9225 37 0,'0'0'97'0,"0"0"-19"0,5-7 30 0,-5 7-41 15,0 0 17-15,0 0-41 0,4-4 18 0,-4 4-38 16,0 0 22-16,0 0-17 0,5-5 34 0,-5 5-34 16,0 0 15-16,0 0-33 0,0 0 24 0,0 0-70 0,0 0-103 15,0 0-75-15,0 0 67 0</inkml:trace>
  <inkml:trace contextRef="#ctx0" brushRef="#br0" timeOffset="-88638.1">7739 12670 80 0,'0'0'214'0,"-4"-10"-58"16,4 10-38-16,-4-8-24 0,3 2-11 0,1 6 10 15,-4-11-20-15,4 11-15 0,-2-12 0 16,2 12-19-16,-3-9 36 0,3 9 5 0,-1-10-17 0,1 10-17 15,-3-7-24-15,3 7-5 0,0 0-5 0,0 0-5 16,3-8-2-16,-3 8-3 0,0 0 1 16,10 4-1-16,-10-4 1 0,17 4 0 0,-6-2 0 0,5 0 3 15,3 0 5-15,4-1 22 0,5 0 2 0,1-1-3 16,10-1-5-16,0 0-3 0,3-2 0 0,7 1 0 16,-1-2-2-16,1 0 2 0,1 1-1 0,0-1-10 15,-3 1-49-15,3-2-12 0,-4 0-35 0,1 0-33 16,-2 2-31-16,-5-1-52 0,-2-1-140 0,-2 3 201 15</inkml:trace>
  <inkml:trace contextRef="#ctx0" brushRef="#br0" timeOffset="-86769.85">24354 13459 174 0,'0'0'192'0,"23"3"-46"0,-10-3-27 0,6-1-29 16,1 1-33-16,5-2-6 0,3 0-13 0,2 1-29 0,0 1-21 15,2-1-25-15,-2 1-67 0,0-1-125 16,0-1 73-16</inkml:trace>
  <inkml:trace contextRef="#ctx0" brushRef="#br0" timeOffset="-84908.29">19466 11779 154 0,'0'0'227'0,"0"0"-79"0,0 0 15 0,0 0-49 15,0 0 23-15,1-7-40 0,-1 7 25 0,0 0-35 0,0 0 3 16,0 0-42-16,0 0 9 0,0 0-40 0,0 0 19 16,0 0-37-16,0-7 23 0,0 7-34 0,0 0 29 15,-5 4-24-15,5-4 49 0,-9 7-25 16,5 0 33-16,-6 1-24 0,1 1 27 0,0 2-29 0,-1 1 61 15,1 1-38-15,-1 3 14 0,0 0-36 0,1-1 14 16,1 0-26-16,3-1 22 0,-1 3-31 16,2-3 2-16,1 1-2 0,3-3 6 0,0 1 1 0,3-1 2 15,-1 0 3-15,5 0-5 0,-1 0 3 0,2-1 0 16,1 0 4-16,1-3-4 0,0 0-41 0,2 1-23 16,-1-3-31-16,3 0-38 0,0-1-24 0,-2-2-31 15,1 0-29-15,1-3-231 0,-3 0 98 0</inkml:trace>
  <inkml:trace contextRef="#ctx0" brushRef="#br0" timeOffset="-84620.74">19708 11928 146 0,'3'-6'211'0,"1"0"-67"0,0 1-27 16,0 0-30-16,-4 5-23 0,10-6-13 0,-10 6-7 0,9-2-17 15,-9 2-7-15,12 3 0 0,-12-3 0 16,8 9 6-16,-4-4-31 0,0 3 38 0,-3-1-22 15,1 3 49-15,-1-2-32 0,-1 1 23 0,-1 0-8 0,-1 1 14 16,1 0-26-16,0-1 19 0,-2-1-31 0,2-1 24 16,0-1-31-16,-2 1 2 0,3-7 7 0,-2 12 13 15,2-12 16-15,-2 8 16 0,2-8 15 0,-3 10 11 16,3-10 4-16,-3 6-2 0,3-6-4 0,0 0-13 16,-1 7-15-16,1-7-13 0,0 0-13 0,0 0-6 15,7 3 6-15,-7-3-27 0,9-2-41 16,-9 2-5-16,13-3-57 0,-4 0-3 0,0 2-62 0,0-1 5 15,0-1-69-15,4-1-25 0,1-1-165 0,1 0 124 16</inkml:trace>
  <inkml:trace contextRef="#ctx0" brushRef="#br0" timeOffset="-84478.73">20078 11977 296 0,'0'0'300'0,"-1"8"-92"0,1-8-15 0,-7 9-63 15,2-2 3-15,-1-1-56 0,-2 3 12 0,1 1-42 16,-2 1-11-16,-3-1-2 0,3 2-3 0,-1 0-3 15,-3-1-3-15,3 2 1 0,-3 0-21 0,3-2-54 16,1-1-36-16,-1 1-41 0,1-1-40 0,1-3-226 0,2 0 153 16</inkml:trace>
  <inkml:trace contextRef="#ctx0" brushRef="#br0" timeOffset="-84143.72">20219 11897 91 0,'0'0'267'0,"0"0"-110"0,0 0-3 0,0 0-70 16,0 0 11-16,0 0-42 0,0 0 21 0,-4 7-44 15,4-7 24-15,-6 7-35 0,2-1 24 0,-1 0-35 16,-2 1 30-16,3 2-40 0,-2-1 34 0,0 0-35 16,1 1 34-16,1 0-33 0,-3 1 31 0,2 1-29 15,1-1 26-15,1-1-40 0,0 1-48 0,-1-2-22 0,2 2-42 16,0-3-185-16,0 0 231 0</inkml:trace>
  <inkml:trace contextRef="#ctx0" brushRef="#br0" timeOffset="-83744.68">20182 11932 223 0,'0'0'198'16,"1"-9"-23"-16,-1 9-74 0,0 0 2 0,0 0-50 15,0 0 22-15,0 0-41 0,0 0 19 0,-9 3-29 16,9-3 40-16,-4 9-42 0,2-3 30 0,2-6-27 16,0 14 32-16,0-7-42 0,0 0 32 0,2 1-37 15,0 1 24-15,0 0-26 0,2 0 59 0,-1-2-30 16,2 1-6-16,0-1 2 0,0 0-12 0,0 0 2 15,-1-1-6-15,0-2 4 0,1 1-1 0,-5-5 10 16,10 7 10-16,-10-7 6 0,9 4 18 0,-9-4 0 16,9 2-12-16,-9-2-8 0,9-2-6 0,-9 2 7 15,6-5 4-15,-6 5-11 0,4-8-10 0,-3 1 17 0,-1 1-30 16,0 6 15-16,0-15-6 0,-1 8 22 0,-2-1-20 16,1 1 5-16,-1-2-21 0,-2 1 13 15,3 1-18-15,-2 1 10 0,0 1-18 0,-1 1 0 16,5 4-57-16,-12-5-10 0,12 5-71 0,-15-2-9 0,15 2-71 15,-14 1-20-15,14-1-249 0,-14 1 19 0</inkml:trace>
  <inkml:trace contextRef="#ctx0" brushRef="#br0" timeOffset="-83545.07">20387 11858 253 0,'0'0'260'0,"13"6"-90"15,-5-1 25-15,-2 1-59 0,1 2 0 0,-1 1-20 16,-2 0 3-16,4 4-41 0,-3-1 13 0,-1 1-35 16,-2 0-8-16,1 1-9 0,-3-1-2 0,0 1-3 15,-2 0-3-15,0 2-3 0,-1 0 1 0,-3-1-4 16,-2-1-19-16,-1 2-41 0,2-2-66 0,-1 1-66 16,-2-3-103-16,1-1-146 0,-2-2 119 0</inkml:trace>
  <inkml:trace contextRef="#ctx0" brushRef="#br0" timeOffset="-83038.22">19866 12294 413 0,'0'0'326'0,"0"0"-94"0,-2-7-48 15,2 7-40-15,0 0-29 0,-11 4-21 0,11-4 1 0,-10 9-1 16,4-3-4-16,-1 1 7 0,0 2-43 0,-2-2 11 16,1 4-34-16,0-2 16 0,-1 2-26 0,1 0 17 15,0 0-25-15,-1 1 24 0,2-2-16 0,-3 1 12 16,3 0-27-16,-1-1-29 0,-1 1-70 0,3-4-7 16,-1 1-68-16,-1-2-15 0,3-1-75 0,-3 0-191 15,8-5 74-15</inkml:trace>
  <inkml:trace contextRef="#ctx0" brushRef="#br0" timeOffset="-82867.21">19657 12323 218 0,'0'0'231'16,"10"-2"-18"-16,-10 2-72 0,10 2 35 0,-10-2-60 16,13 6 21-16,-3 0-43 0,0-1 5 0,-1-1-43 15,3 5 18-15,-2-2-38 0,0 1 22 0,3 2-37 0,-3-1 26 16,2 1-33-16,-1 0 4 0,-2 1-83 15,0 0-38-15,1-2-87 0,-2 2-249 0,0-4 88 16</inkml:trace>
  <inkml:trace contextRef="#ctx0" brushRef="#br0" timeOffset="-82509.22">20042 12386 180 0,'0'0'270'0,"0"0"-45"0,0 0-80 0,0 0-3 16,0 10-54-16,0-10 10 0,-3 11-44 0,1-3 17 0,-4-1-35 15,3 4 12-15,1-1-66 0,-2 1-18 16,0 1-44-16,0 0-48 0,0 0-217 0,2-2 196 0</inkml:trace>
  <inkml:trace contextRef="#ctx0" brushRef="#br0" timeOffset="-81876.61">20159 12272 197 0,'0'0'232'0,"0"0"-66"0,0 0-43 0,5-6-30 15,-5 6-23-15,0 0-16 0,0 0-13 0,0 0-10 0,0 0-7 16,0 0-7-16,0 0 9 0,6 4 26 0,-6-4-7 16,3 6-9-16,-3-6 35 0,2 9-40 15,-2-9 20-15,4 8-37 0,-4-8 35 0,4 12-9 16,-1-7 25-16,0 2-38 0,1-1 20 0,0 0-32 0,0 1 27 16,0-1-32-16,0 0 23 0,-2 0-32 15,3-1 31-15,2-2-28 0,-7-3 25 0,9 9-23 16,-9-9 28-16,9 5-24 0,-9-5 25 0,11 3-31 0,-11-3 26 15,0 0-29-15,14-1 29 0,-14 1-27 0,12-5 24 16,-12 5-28-16,10-8-1 0,-6 4 0 0,-4 4 0 16,6-10 1-16,-2 5 2 0,-1 0-6 0,-3 5 2 15,5-9 1-15,-5 9-5 0,5-8-2 0,-5 8-1 16,2-5-2-16,-2 5-2 0,0 0 0 0,0 0 1 16,0 0 5-16,12 3 0 0,-12-3 23 0,4 9-25 15,-2 0 23-15,2 0-27 0,0 2 28 0,0 2-30 16,1 0 29-16,0 1-29 0,0 1 27 0,0 0-27 15,1 0 30-15,-2 1-25 0,-1-2 26 0,1 3-25 16,-2-2 29-16,-2-3-24 0,0 2 36 0,-1-1-2 16,-3-1 22-16,1 0-31 0,0-1 28 0,-2-2-9 15,0 1 32-15,-1-4-18 0,1 2 15 0,-2-4-26 16,-1 0 5-16,8-4-20 0,-15 2 10 0,15-2-20 16,-18-3 11-16,10-1-20 0,-1-1 16 0,1-2-42 0,0 0-28 15,1-2-40-15,1 0-13 0,-1-2-59 0,1 0 2 16,1-1-65-16,2 0-50 0,-2-1-182 0,4 0 70 15</inkml:trace>
  <inkml:trace contextRef="#ctx0" brushRef="#br0" timeOffset="-81721.61">20517 12243 159 0,'15'3'330'0,"-5"1"-88"0,3 3-54 15,1 0-35-15,-2 0-2 0,-1 4-57 0,-1 0 8 16,-3 1-42-16,-1 2 16 0,0 2-39 0,-6 0 24 15,0 1-37-15,-3 1 9 0,-2 3-66 0,-3-1-12 16,-3 1-61-16,-2 2-15 0,-3-1-40 0,0-3-235 16,-4 1 149-16</inkml:trace>
  <inkml:trace contextRef="#ctx0" brushRef="#br0" timeOffset="-81367.61">19543 12353 150 0,'0'0'287'0,"-5"-6"-82"15,5 6-53-15,0 0-36 0,0 0-21 0,-12 1 15 16,12-1-36-16,-5 9 23 0,1-5-30 0,3 4 33 16,0 0-41-16,-1 1 9 0,2 1-34 0,0 1 24 15,3 0-35-15,-1 2 22 0,2-1-31 0,3 1 27 16,-1 2-28-16,4-2 28 0,1 1-26 0,1 0 22 15,4 1-83-15,-1-2-41 0,4-1-95 0,0 1-315 16,1-2 9-16</inkml:trace>
  <inkml:trace contextRef="#ctx0" brushRef="#br0" timeOffset="-61632.03">13417 11328 58 0,'36'-6'247'16,"18"-2"-37"-16,15-2-37 0,10-2-8 0,7-3-43 16,6-1 19-16,20-3-42 0,4-4 19 15,1 2-29-15,3 1 10 0,-1-2-30 0,-2 1 3 0,-3-1-30 16,-21 3 11-16,-1 1-22 0,-1-1 15 0,-4 1-28 16,0 0 19-16,-3 0-26 0,-7 1 24 0,-2 1-26 15,-7 1 22-15,-4 1-29 0,-16 5-10 0,-4-2-47 16,-11 5-28-16,-7 0-98 0,-5 1-51 0,-6 1-216 15,-15 4 79-15</inkml:trace>
  <inkml:trace contextRef="#ctx0" brushRef="#br0" timeOffset="-61146.92">13609 11304 24 0,'1'6'121'0,"3"3"19"0,0 1-31 0,1 4-25 15,3 2-3-15,-1 3 4 0,4 6 36 0,1 2-34 16,2 7 9-16,4 0-43 0,-2 4 30 0,0 1-6 16,2 2-14-16,-1 2-7 0,-2 0-8 0,0 1-30 15,1 0 70-15,-2 1-34 0,-4-1 14 0,0 0-17 16,-1 1-16-16,-1-1-2 0,-6 0 40 0,-2-5-5 16,-2 3 24-16,-6 0 17 0,-3-2-6 0,-3-1-11 15,-5-2 30-15,-2-1-17 0,-5-3 1 0,-2-2 2 16,-2-4-7-16,-5 0-4 0,-3-3-9 0,-4-4 4 15,-12 2-27-15,-2-4 2 0,-4-3-21 0,-7-2-7 16,0-4-13-16,-2-1 4 0,7-5-15 0,-2-2 11 0,-11-3-22 16,1-3 13-16,1-4-13 0,0 1 8 0,4-5-12 15,4-2 12-15,2 1-15 0,11 1 15 16,4 0-12-16,5-2 14 0,3 3-11 0,10 2 11 0,2 0-18 16,6 3-65-16,3 0-81 0,4 0-96 0,4 4 24 15,6-1-40-15,5 4-6 0,0 0-77 0,8-5-240 16,2 2-97-16</inkml:trace>
  <inkml:trace contextRef="#ctx0" brushRef="#br0" timeOffset="-60704.82">14026 11664 253 0,'-12'-6'276'0,"12"6"-14"0,-19 2-59 0,6 4 9 16,-6 3-63-16,2 1-9 0,-2 7-5 0,-1 0-17 16,1 3-27-16,1 1 1 0,2 1-28 0,2 1 6 15,4 1-17-15,2-2 2 0,3 1-10 0,3 0 8 16,2-3-18-16,2 3-6 0,3-1 0 0,3 1 0 15,4-1-3-15,2 2-3 0,1-1 1 0,4-3-1 16,0-1 5-16,3-1-3 0,1 0 4 0,0-2-35 16,2-4-56-16,-1 2-62 0,-1-6-59 15,0-2-49-15,0-1-90 0,-5-4-193 0,2-2-11 0</inkml:trace>
  <inkml:trace contextRef="#ctx0" brushRef="#br0" timeOffset="-60379.72">14332 11747 9 0,'-1'-11'393'0,"1"1"-153"16,0 4-44-16,0 6-65 0,-2-7-9 0,2 7-50 15,0 0 6-15,-8 7-38 0,3 1 22 0,1 2-19 16,0 2 32-16,-2 2-36 0,3 1 14 0,-2 2-31 0,4 1 18 16,-2-2-21-16,2 2 38 0,2 2-26 0,-1-2 16 15,3-1-29-15,-1 1 19 0,2-3-24 0,4 1 24 16,-3 0 19-16,3-2 13 0,-1-1-11 0,1-2-6 15,3-1-2-15,0-1 6 0,1-2 0 16,-1-3-4-16,0 0-5 0,1-3 15 0,-2-2-9 0,0-2-18 16,1-2 9-16,-3-3-16 0,1-1 2 0,-4-2-8 15,0-4-9-15,-2 1-4 0,-2-3 3 0,-2 0-14 16,-2-1 11-16,-2 0-9 0,0-2 8 0,-3 0-5 16,-1 2 2-16,-1 1-5 0,0 1 6 0,1 3-11 15,0 2 9-15,2 1-3 0,-2 4 3 0,0 1-36 16,0 2-57-16,9 3-73 0,-14-1-44 0,14 1-77 15,-9 7-326-15,9-7-120 0</inkml:trace>
  <inkml:trace contextRef="#ctx0" brushRef="#br0" timeOffset="-60237.72">14624 11838 185 0,'11'-2'400'0,"2"-1"-121"0,-3-1-26 15,3 0-58-15,1-2-2 0,0 1-51 0,0-1-11 16,-1 0-41-16,2 1 0 0,-1 0-24 0,2 2-2 0,-1-2-49 15,0 1-53-15,-2 3-97 0,0-2-14 0,2 2-64 16,-2-1-279-16,1 0 17 0</inkml:trace>
  <inkml:trace contextRef="#ctx0" brushRef="#br0" timeOffset="-59995.13">15093 11624 171 0,'0'0'177'0,"15"0"-24"15,-15 0-45-15,13 6-1 0,-8 1-28 0,0 2 11 16,-1 2-39-16,2 1 16 0,-5 3-11 0,-1 2 10 16,-1 0 43-16,0 1-44 0,-4 0 10 0,1 0-39 15,-1 1 20-15,0-2-25 0,0-2 25 0,1 0-31 16,-1 1 32-16,-2-5-15 0,4 0 17 0,0 0-18 16,-1-2 46-16,2-1 6 0,-1-1 22 0,2-2-31 15,1-5-4-15,1 8-24 0,-1-8 5 0,8 5-22 16,-8-5-10-16,11 0-75 0,-11 0-44 0,17-4-80 15,-7 1-53-15,0-3-370 0,1-1-105 0</inkml:trace>
  <inkml:trace contextRef="#ctx0" brushRef="#br0" timeOffset="-59812.59">15408 11615 259 0,'13'-7'324'0,"0"3"-44"16,-3 1-59-16,-10 3-17 0,23 2-52 0,-11 0-3 15,-3 3-3-15,2 3 10 0,-1 0-44 0,-1 5-2 16,-2-1-30-16,-1 2-4 0,2 0-22 15,-3 2-2-15,-3 0-17 0,0 1 8 0,-2 1-14 0,-3 0 5 16,-1 0-6-16,-2 1 4 0,0-1-11 0,-2 0 5 16,0-3-8-16,2-2-47 0,-3 0-12 0,1-2-76 15,-1-1-36-15,-2-2-99 0,2-1-51 0,0-3-243 16,9-4-53-16</inkml:trace>
  <inkml:trace contextRef="#ctx0" brushRef="#br0" timeOffset="-59561.59">15449 11364 57 0,'12'-5'239'0,"-2"3"-88"0,-10 2-3 0,19 1-56 16,-10 2 9-16,0 2-33 0,-4 1-5 0,0 2-3 16,-1 1 4-16,-1 3-5 0,-2 0 7 0,-1-2 24 15,0 5-37-15,-1-3 14 0,-2 0-39 0,3 0 16 0,-1-1-35 16,0 0 20-16,-1-3-24 0,2 0 41 0,-2-2 29 15,2-6 71-15,0 14 20 0,0-14-21 16,4 6-25-16,-4-6-18 0,12 2-25 0,1-3-13 0,-1 0-9 16,4-2-6-16,0 1 1 0,3-2-14 0,0 0-5 15,3-1-4-15,1 1-12 0,-2-1-69 16,-1 2-56-16,-1-2-80 0,0 1-97 0,0 2-361 0,0-2-159 16</inkml:trace>
  <inkml:trace contextRef="#ctx0" brushRef="#br0" timeOffset="-59361.09">16134 11501 582 0,'0'0'442'0,"0"0"-101"0,12-2-59 16,-12 2-78-16,11-3-3 0,-3-1-40 0,0 1 0 15,1-2-59-15,2 1 4 0,1 2-39 0,0-2 11 16,1 1-36-16,-1 0 17 0,2 0-60 0,-1 2-41 0,-1-2-89 15,-3 2-47-15,2-1-55 0,-11 2-70 0,16-2-306 16,-16 2-121-16</inkml:trace>
  <inkml:trace contextRef="#ctx0" brushRef="#br0" timeOffset="-59209.83">16230 11417 414 0,'0'0'335'0,"-13"0"-83"0,13 0-72 0,-15 2 2 15,15-2-56-15,-13 4-1 0,7 2-22 0,0 0-14 16,2-1 69-16,0 3-30 0,1 0-24 0,3 2-16 15,0 2-15-15,2 0-13 0,0 2-11 0,1 2 0 16,2 0-8-16,0 3-1 0,1 1-24 0,2 1-88 16,-3-2-28-16,2 1-126 0,-2-1-108 0,1-3-254 15,-4-1-103-15</inkml:trace>
  <inkml:trace contextRef="#ctx0" brushRef="#br0" timeOffset="-58693.29">16538 11185 9 0,'-4'-11'476'0,"0"0"-130"0,2 4-55 0,-2 1-82 16,-2 0-35-16,6 6-52 0,-14-2 2 0,14 2-16 16,-21 3-2-16,8 3-12 0,-1 3 10 0,3 0-30 15,-2 3-12-15,-1 3-11 0,4 0-3 0,-2 1-7 16,7 0-2-16,-1-1-4 0,3 2-25 0,1 0 26 15,3 1-30-15,2 0 29 0,2 1-7 0,1 0-6 0,4 0 2 16,0-1-2-16,2 0-2 0,3-1 6 0,-2 0-1 16,4-3 0-16,-3 0-41 0,1-1-47 0,2-2-52 15,-3-3-20-15,1-2-81 0,-1-1-29 16,-2-3-112-16,-12-2-159 0,21-2-12 0</inkml:trace>
  <inkml:trace contextRef="#ctx0" brushRef="#br0" timeOffset="-58446.28">16684 11216 130 0,'10'-15'282'16,"-1"6"-76"-16,5-2-16 0,0 4-62 0,0 2 0 16,2 0-53-16,-4 4 11 0,2 2-38 0,2 2 40 15,-2 3-32-15,1 1 15 0,-2 3-23 0,-3-1 22 16,1 3-24-16,-1 2-4 0,-3-2-3 0,-2 4 52 16,-2-1-3-16,1-1-12 0,-3-1-5 0,-4 2 59 15,0 0-21-15,-2-1 11 0,-2-2-35 0,1 1 26 16,-1-1-31-16,1-4 35 0,2 1 15 0,0-2 6 15,0-2 12-15,2 3 10 0,2-8-13 0,-5 8-24 16,5-8-38-16,0 0-12 0,0 0-23 0,5 5-9 16,-5-5-81-16,13-1-55 0,-2-2-72 0,3 2-22 0,1-1-108 15,2-2-83-15,2 1-471 0,3-4-401 0</inkml:trace>
  <inkml:trace contextRef="#ctx0" brushRef="#br0" timeOffset="-58070.28">17208 11286 175 0,'0'0'392'0,"0"0"-84"16,0 0-84-16,-2-9-39 0,2 9-60 0,0 0-7 15,8-6-44-15,-8 6-15 0,9-4-67 0,-9 4-4 16,15-6-55-16,-4 3-2 0,-1-1-44 0,3 1 35 16,0-2 11-16,2 1 6 0,0-3 9 0,-1 2 14 15,-1 0 11-15,2-2 58 0,-4 1 15 0,0 2 14 16,-1-3 31-16,-1 4-3 0,-2-2 54 0,-1 1-18 15,2 0-4-15,-8 4-51 0,6-5-2 0,-6 5-37 16,0 0 15-16,0 0-32 0,0 0 13 0,-11 2-25 16,7 3 16-16,-1 0-22 0,1 1 19 0,-1 0-18 15,1 2 26-15,1-1-17 0,1 2 23 0,2-2 15 0,0 2 22 16,2 0-5-16,2 0 20 0,1-1-23 16,3-1-6-16,1 3 7 0,1-4 2 0,2 1-6 15,0-1-4-15,1-2-6 0,-3-2 7 0,3-1 10 0,-1 0 3 16,-12-1-13-16,21-2 1 0,-12 0-15 0,-1-1-2 15,0-3-7-15,-3 0-21 0,-3 0 12 0,0-1-13 16,-2 0 9-16,-4-1-22 0,0-1 18 16,-5 1-15-16,0 0-13 0,-3 0-38 0,0 1-31 0,-2 1-38 15,-3 1-79-15,3 1-35 0,-4 1-111 0,4 1-305 16,-2-2-165-16</inkml:trace>
  <inkml:trace contextRef="#ctx0" brushRef="#br0" timeOffset="-57880.15">17577 10987 165 0,'14'2'438'0,"0"1"-93"0,-2 2-78 15,1 3 14-15,1-1-62 0,-3 4-34 0,3 1-47 16,-1 2-15-16,-3 3-26 0,2 0-22 0,-3 2-13 16,-3 0-7-16,0 2-9 0,-2 0-4 0,-4-1-5 15,-2 5-23-15,-6-1 28 0,-1 1-31 0,-4 3-29 16,-1-3-67-16,-4 5-67 0,-1-6-69 0,0-2-62 15,2-1-306-15,-2-2-104 0</inkml:trace>
  <inkml:trace contextRef="#ctx0" brushRef="#br0" timeOffset="-57476.08">17916 10687 90 0,'7'-5'281'0,"1"2"-83"15,-8 3-41-15,14 1-42 0,-14-1-24 0,9 9-17 16,-6-2-11-16,-2 2-6 0,0 0-7 0,-2 3 31 16,-3 3-35-16,-1-1 18 0,0 0-14 0,-4 2 17 15,4 0-33-15,-2-2 12 0,1-2-31 0,2 1 18 16,-2-2-29-16,3-1 36 0,2 0 35 0,1-3 30 0,0-7-26 16,4 11 6-16,6-9-27 0,0 0 9 15,4-2-22-15,-1-1 4 0,5 0-15 0,-1-1 9 16,-1-2-18-16,0 0 10 0,-2 2-15 0,-3-1-6 15,0 1 1-15,0 0-37 0,-11 2-65 0,14-3-26 0,-14 3 19 16,13 3-86-16,-13-3-46 0,1 6-301 16,-6-2-28-16</inkml:trace>
  <inkml:trace contextRef="#ctx0" brushRef="#br0" timeOffset="-56665.57">15389 10985 56 0,'0'0'234'0,"-10"3"-32"16,10-3-61-16,0 0 35 0,14-2-30 0,3-5-4 15,15-1-37-15,12-4-4 0,16-5-19 0,8 1 25 0,6-4-33 16,8-1-6-16,23-4-2 0,10-2-11 15,2-1-12-15,5 3-1 0,-2-1-19 0,-4 1 15 16,-2 1 1-16,-3 1-9 0,-21 3-3 0,-6 2 10 16,-7 2-18-16,-6 2 11 0,-4-2-24 0,-17 6 19 0,-5 0-17 15,-10 2 13-15,-3 1-29 0,-8 4 15 16,-3-1-27-16,-3 1 23 0,-5 3-37 0,-3 2-7 16,-10-2-77-16,2 9-51 0,-12 1-137 0,-3 5-153 0,-16 8 62 15</inkml:trace>
  <inkml:trace contextRef="#ctx0" brushRef="#br0" timeOffset="-56186.49">13714 13228 348 0,'-14'2'366'0,"1"0"-107"15,13-2-34-15,-10-4-73 0,10 4-11 0,1-9-51 16,7 2-9-16,6-1-15 0,2-4 10 0,9-1-28 16,3-1 12-16,1 2-26 0,2-1 13 0,-1 2-20 15,2 2 16-15,-1 0-49 0,-3 3-57 0,-5 3-94 16,-2 3-51-16,-2 0-302 0,-6 2-8 0</inkml:trace>
  <inkml:trace contextRef="#ctx0" brushRef="#br0" timeOffset="-56032.63">13684 13500 43 0,'-15'11'393'0,"4"-4"-137"16,3-2-41-16,8-5-70 0,-8 5-5 0,8-5-61 15,8-3 8-15,3-1-15 0,5-3-16 0,9-5-12 0,6 1 0 16,6-4-15-16,4 0-24 0,2-2-21 16,2 1-21-16,1 0-49 0,0-1-60 0,-1 0-43 15,0 0-170-15,-1 0 185 0</inkml:trace>
  <inkml:trace contextRef="#ctx0" brushRef="#br0" timeOffset="-55480.99">14925 12772 272 0,'0'0'336'0,"0"-10"-83"0,0 10-60 0,-1-7-52 0,1 7-43 16,0 0-26-16,0 0-16 0,0 0-16 15,0 0 21-15,0 0-23 0,0 0 8 0,-1 11-24 0,2-4 36 16,0 4 1-16,0-2 18 0,2 3-30 0,2 2 7 16,-1-1-24-16,3 2 2 0,-1-1 16 15,4 1 4-15,2-1 3 0,0 2-6 0,1-1-1 0,0-2-9 16,4-3 11-16,-2 3-27 0,3-5-1 0,-3 0 1 16,-1-2 0-16,3 1-4 0,-4-3 2 0,-2-1 4 15,3-2-4-15,-2-2-1 0,-2-1 2 0,3-1-5 16,-4-3-16-16,1 0 18 0,-4-1-3 0,1-3-4 15,-4 1-1-15,1-4-3 0,0 1-7 0,-1 2-6 16,-2-1 1-16,0-1 14 0,2 2 4 0,-2-1 15 16,0 4 14-16,-1 0-15 0,0 0-29 0,0 7 11 15,0-7 0-15,0 7-5 0,0 0-1 0,0 0-1 16,0 0-3-16,-2 7-1 0,2-7-3 0,0 12 4 16,1-6 2-16,0 2 2 0,-1 2-22 0,3 1 33 15,-2-1-12-15,3 4 4 0,-1-1 5 0,-1 0-3 16,3 2 4-16,-2 0 1 0,2 1 2 0,1-2-3 15,-2 1 4-15,1-1-36 0,-1-1-52 0,3-1-20 16,-2 0-84-16,2-1-38 0,0-4-132 0,-1-1-272 0,3-1-129 16</inkml:trace>
  <inkml:trace contextRef="#ctx0" brushRef="#br0" timeOffset="-55290.98">15700 12826 290 0,'15'-6'324'0,"2"0"-48"0,2-1-51 0,1 0-25 16,2-2-54-16,2 2-16 0,-2-2-41 0,4 2 2 15,-1 0-37-15,-2 1 13 0,-1 0-30 0,2 1 5 16,-1-1-40-16,-4 4-33 0,-2-1-78 0,0 0-25 16,-5 2-44-16,0-2-49 0,1 2-184 0,-6-2 129 15</inkml:trace>
  <inkml:trace contextRef="#ctx0" brushRef="#br0" timeOffset="-55097.99">15922 12658 357 0,'-9'-3'388'0,"0"0"-47"0,9 3-91 0,-10-4-55 0,10 4-58 16,-9-2-21-16,9 2-40 0,0 0 5 0,-6 7-5 16,6-7 8-16,-2 8-14 0,4-1 5 0,0 1-19 15,1-1 2-15,2 4-23 0,-1-2 3 0,2 4-12 0,1 0 7 16,0-1-10-16,2 2-6 0,-2 2 4 0,-1-2 1 15,3 1 1-15,-3-3-8 0,1 3-63 0,-1-2-39 16,2 0-50-16,-3-1-75 0,0-1-54 16,-1-3-317-16,1-2-96 0</inkml:trace>
  <inkml:trace contextRef="#ctx0" brushRef="#br0" timeOffset="-54743.19">16252 12529 143 0,'6'-3'406'0,"-6"3"-138"16,9-4-37-16,-9 4-68 0,0 0-20 0,7 5-47 16,-7-5 0-16,5 8-41 0,-5-8 10 0,2 11-32 15,1-5 16-15,-2 2-32 0,2-3 18 0,-1 2-17 16,2 1 17-16,1-2-24 0,-2 1 23 0,1-2-24 16,1 1 28-16,-5-6-20 0,7 7 22 0,-7-7-22 15,8 5 22-15,-8-5-29 0,0 0 24 0,14-7-29 16,-14 7 18-16,8-9-21 0,-3 2 14 0,-1-1-20 0,0-1 14 15,1-1-23-15,0 1 16 0,-2 0-19 16,1 1 78-16,0 0 11 0,-1 3-5 0,-1-1-39 16,-2 6 0-16,7-7-22 0,-7 7 25 0,0 0 25 15,0 0-11-15,14 4 5 0,-10 1 2 0,-2 1 35 0,5 4 2 16,-2-2-3-16,2 2-26 0,-2-1 0 0,2 5-22 16,1-3 5-16,-2 3-18 0,1-1 10 15,1 0-19-15,-4 0 10 0,3 1-9 0,-2 0 9 0,1-2-11 16,-2 0-47-16,-2-1-46 0,2-2-36 0,-1 3-41 15,-1-4-90-15,1 2-63 0,-2-3-130 0,-1-7-179 16,2 5-125-16</inkml:trace>
  <inkml:trace contextRef="#ctx0" brushRef="#br0" timeOffset="-54110.2">16603 12012 10 0,'0'0'419'0,"-2"-6"-147"16,2 6-44-16,-14 0-66 0,0 2 5 0,-8 4-36 15,-10 2 6-15,-6 2-32 0,-6 4-8 16,-6 0-9-16,-8 4-12 0,-4 0-15 0,-3 2-1 15,0 1-8-15,-4 0-3 0,-4 1-9 0,0-1-5 0,-2 4-4 16,-3-3-1-16,1 2 0 0,-2 0-17 0,-3 2 14 16,3-1-19-16,-4 0 9 0,-1 1-18 0,0-2 16 15,1 2-14-15,3-2 13 0,3-4-20 0,3 0 16 16,5 0-12-16,8-4 15 0,11-2-14 0,4-3 7 16,5 1-6-16,9-4 12 0,1-1-12 0,8-2 13 15,4-2-13-15,1 3 16 0,3-3-11 0,2 1 10 16,2-3-25-16,11-1 18 0,-15 2-16 0,15-2 14 15,0 0-12-15,0 0-7 0,0 0 4 0,0 0 11 16,0 0-14-16,0 0 8 0,0 0-11 0,0 0 15 16,0 0-16-16,10 2 14 0,-10-2-14 0,12 7 16 15,-5-3-16-15,2 2 17 0,1 4-16 0,1-1 19 16,1 7-15-16,2 0 14 0,3 4 24 0,-1 2 22 16,6 7-16-16,-3-1 9 0,5 5 12 0,-1 2-4 0,-1 0 2 15,1 3 0-15,5 6 31 0,0 1-22 16,-1 0 1-16,-4-6-14 0,-2-1 0 0,0-1-9 15,0 0 7-15,-3 1-21 0,-2-2 57 0,0-1-21 16,-4-5 4-16,-3-2-19 0,0-1 49 0,-5-3 1 0,0-4 16 16,0-2 16-16,-4-1 28 0,-7-4-16 0,1 0-22 15,-4-2-4-15,-4-3-19 0,-2-2-12 16,-3-3-15-16,-1-3-13 0,-6-3-12 0,2-4-3 0,-7-4-17 16,-1-6 6-16,-2-5-13 0,2-5-1 0,1-2-58 15,3-5-11-15,1 0-35 0,3 0 1 0,1 1 12 16,6 2-29-16,2 7-2 0,2 1-24 0,3 5-50 15,1 2-87-15,1 4-40 0,6 2 21 0,-1 4-25 16,6-1-28-16,-3 7-418 0,9-4-271 0</inkml:trace>
  <inkml:trace contextRef="#ctx0" brushRef="#br0" timeOffset="-53680.2">14166 14376 248 0,'-21'4'457'0,"4"0"-88"0,0-2-62 0,6-2-76 15,-1 0-36-15,12 0-56 0,-7-7-9 0,9 0-37 16,6-3-6-16,6-4-14 0,9-3 4 0,6-3-21 16,3-2-6-16,7 2-11 0,2-1 3 0,2 1-10 15,0 2-6-15,3 1 1 0,-2 3-51 0,-2 1-76 0,0 4-83 16,-9 3-121-16,-6 1-348 0,-1 4-162 16</inkml:trace>
  <inkml:trace contextRef="#ctx0" brushRef="#br0" timeOffset="-53498.12">14293 14613 228 0,'-23'16'482'0,"6"-4"-49"0,2-3-38 0,3 1-22 15,1-3-45-15,1-1-68 0,2-2-73 0,8-4-26 16,0 0-50-16,0 0-9 0,5-10-36 0,8 2 4 16,2-2-30-16,7 0 9 0,3-4-3 0,5 1-13 15,4-2-48-15,3 2-26 0,2 0-67 0,-2 0-55 16,2 2-42-16,-7 1-92 0,0 2-44 0,0-3-355 15,-1 1-201-15</inkml:trace>
  <inkml:trace contextRef="#ctx0" brushRef="#br0" timeOffset="-53026.54">15337 13976 26 0,'0'0'326'0,"8"-4"-84"0,-8 4-53 16,13 0-27-16,-2 3-23 0,2 1 4 0,2 2-24 16,3 3-24-16,-2 3-16 0,2 0-15 0,0 1-8 15,0 2-13-15,-4 0 2 0,0 0-12 16,-1 1-4-16,-4 0-3 0,-3-1 0 0,-2 2 49 0,-4-1-8 15,-1 0-6-15,-4-1-13 0,-3-1-12 0,-1 0 38 16,-2 0-27-16,-3-3 6 0,-1-1-25 0,0-3 15 16,1 0-22-16,-2-3 13 0,0-3-14 0,2-1 5 15,-3-4-19-15,2-1 16 0,1-1-3 0,-1-4-13 16,1-1 2-16,1-4-8 0,1-2 10 0,3-2-13 16,1-1 10-16,1-2-12 0,2 0 12 0,1-4-12 15,2 0 12-15,-1 0-14 0,3 0 12 0,0 2-15 16,-1 4 0-16,1 0 2 0,0 2 6 0,0 1 34 15,-2 2-9-15,1 4-8 0,1-1-10 0,0 3 3 16,-1 3-1-16,1 6 4 0,-9-9-11 0,9 9 2 16,0 0 9-16,-13 1-10 0,13-1 7 0,-9 8-12 15,3-4-1-15,2 2 9 0,2 2 12 0,-1 0-16 16,3 0 8-16,0 0-7 0,0 2 6 0,3-1-56 0,0 0-3 16,4-1-44-16,-2 0-1 0,3-2-46 15,1 0-47-15,2 0-38 0,-1-2-79 0,3-3-168 16,1-1 42-16</inkml:trace>
  <inkml:trace contextRef="#ctx0" brushRef="#br0" timeOffset="-52580.1">15627 13637 345 0,'-1'-7'274'0,"1"7"-66"0,-9-4-29 15,9 4-43-15,-22 4 9 0,5 1-43 0,-6 2 0 16,-5 1-38-16,0 3-12 0,-4 1-1 0,-2 2-12 15,-3 1 17-15,-1 1-32 0,-1-2 24 0,2 3-29 16,-1-2 13-16,0 0-28 0,3-2 23 0,4-2-25 16,0 1 20-16,-1-2 4 0,3 0-27 0,0-1 20 15,-1-1-6-15,7-1 0 0,0-1-1 0,5 0 1 16,2-1-1-16,2-1-3 0,1-1-4 0,1 1-8 16,1-1-8-16,3 0 2 0,3 1-1 0,5-4 1 15,-5 9-3-15,5-9 7 0,3 15-1 0,-1-4 23 16,5 1 13-16,1 6-2 0,1 3 43 0,4 5 1 15,2 7 27-15,2 1 7 0,2 2-23 0,0 2 25 16,2-1-23-16,1 2 0 0,-1 0 28 0,-1-2-5 0,1 1 20 16,-2-2-26-16,-2-2-35 0,1-1 47 0,-4-1-20 15,-1-5-3-15,-2 0 11 0,-3-2 7 0,-3-4 17 16,3-2 3-16,-5-2 11 0,0-3 52 16,-3-2-24-16,0-1-10 0,-4-1-26 0,-3-3-12 0,0-4-19 15,-2 1-17-15,-5-3-14 0,3-4-19 0,-5 0-4 16,-3-5-10-16,0-3-7 0,0-5 16 0,-3-1-33 15,2-3 23-15,2-2-41 0,-1 1-42 0,3-2-15 16,-2 1-29-16,4 1-50 0,3 3-33 0,-1 2-51 16,5 3-56-16,-2 1-127 0,2 4-108 0,2 0-20 15,3 4-403-15,2 4-514 0</inkml:trace>
  <inkml:trace contextRef="#ctx0" brushRef="#br0" timeOffset="-51899.07">14786 15427 172 0,'-23'9'370'0,"4"-1"-63"0,-3-2-19 16,4 0-27-16,3-3-5 0,-2 1-53 0,4-2-7 16,2-1-19-16,-2-1-39 0,13 0-16 0,-17-1-36 15,17 1-13-15,-11-6-19 0,11 6-2 0,0-9-19 16,5 2 1-16,8-3-11 0,4-3-3 0,8 0 0 16,3-1-1-16,8 1-51 0,2 0-85 0,1 2-36 15,-5 3-111-15,-2 2-81 0,1 0-282 0,-1 1-138 16</inkml:trace>
  <inkml:trace contextRef="#ctx0" brushRef="#br0" timeOffset="-51678.08">14873 15651 437 0,'-14'9'541'0,"6"-3"-89"0,1 0-70 0,-1 0-65 15,8-6-63-15,-10 5-67 0,10-5-37 16,0 0-32-16,11-7-21 0,2-2-21 0,5-3-16 0,5-2-7 15,1-2-11-15,9-3 10 0,1 1-24 0,1-1 8 16,0 1-20-16,-2 0 16 0,0 2-19 16,-5 3 11-16,-1 0-22 0,-6 3 13 0,-2 1-46 0,-5 1-12 15,1 1-33-15,-2 1-23 0,-3 1-27 0,-1 0-66 16,0 1-36-16,1 0-46 0,-10 4-75 0,9-5-269 16,-9 5-129-16</inkml:trace>
  <inkml:trace contextRef="#ctx0" brushRef="#br0" timeOffset="-49937.82">15420 14996 370 0,'-4'-10'274'0,"4"10"-68"0,1-8-34 15,-1 8-31-15,9-7-13 0,-9 7-18 0,16-1 11 16,-4 3-25-16,3 3-17 0,1 2-15 0,2 4 19 16,5 2-8-16,-1 2-13 0,-3 5-3 0,0-1-34 15,-1 2 18-15,-3 1-17 0,-1 0 53 0,-5-2-15 16,-1 1 12-16,-3-1-11 0,-1-2 16 0,0 0-19 16,-3-1-10-16,-2 0 20 0,-1-4-17 0,0 2 9 0,-2-4-12 15,0 0 21-15,-1 0-11 0,1-4 35 16,-2 1-21-16,1-1 16 0,-3-3-29 0,3 0 8 0,5-4-24 15,-9 3 2-15,9-3-22 0,0 0 4 0,-5-3-20 16,5 3 13-16,5-7-22 0,0 2 15 0,4-1-18 16,3 0 18-16,-1 0-18 0,6 0-13 0,-2-1-63 15,4 2-34-15,3-1-44 0,0 1-75 0,1 1-42 16,0 0-95-16,1-1-391 0,-2 1-270 0</inkml:trace>
  <inkml:trace contextRef="#ctx0" brushRef="#br0" timeOffset="-49791.82">16009 15132 150 0,'1'-9'527'16,"-1"9"-109"-16,0-8-47 0,0 8-53 0,0 0-52 0,2-10-41 15,-2 10-71-15,0 0-27 0,0-8-41 0,0 8-31 16,0 0-19-16,0 0-46 0,0 0-35 0,0 0-91 16,0 0-42-16,5 8-90 0,-5-8-109 0,1 10-160 0,-1-10-44 15</inkml:trace>
  <inkml:trace contextRef="#ctx0" brushRef="#br0" timeOffset="-49198.7">16110 14862 248 0,'8'-5'343'0,"-8"5"-79"16,15-3-42-16,-15 3-23 0,14 3-34 0,-5 2-31 15,-1 1-26-15,-2-1-20 0,1 4-13 0,-2-1-11 16,-2 3-7-16,0 0-5 0,-2 1 14 0,-3 0-11 15,-2 0-2-15,1 0-31 0,-2 1 18 0,0-1-24 16,-3 0 22-16,1-2-23 0,-2 1 17 0,1-4-20 16,-1 0 16-16,0-2-18 0,2-2 13 0,7-3-16 15,-16 1 4-15,16-1 0 0,-12-4-3 0,5-2 0 16,3-2-9-16,0-1 3 0,2-3 2 0,-1-1-6 16,3-3-2-16,-1-3 5 0,0 0-1 0,1-5-4 15,-4 0-15-15,4-2 23 0,-1-1-17 0,-2 2 13 16,1 1-14-16,-2 1 71 0,0 1 9 0,-1 3-17 15,0 3 4-15,-4 2-24 0,0 2-7 0,-3 3-6 16,1 4 3-16,-1 1-12 0,1 2 4 0,11 2 1 16,-23 2-8-16,11 3-4 0,3-1 7 0,0 6-6 0,2 0 7 15,-1 2-3-15,4 1 4 0,3-1-1 16,0 2-29-16,3 0-12 0,1-1 3 0,4 0-41 16,-2 0-13-16,3 0-28 0,1-3-24 0,3-1-33 0,-2-1-13 15,0-3-7-15,0-1-5 0,2-2-6 0,-1-2-2 16,2-2-11-16,1-5 34 0,0 1 82 0,-1-3 81 15,3-4 56-15,1-1 13 0,-2-1 17 16,2-3 16-16,4-2 9 0,0 1 19 0,-3 1-38 0,3 0 19 16,-3 7-38-16,-1-2 20 0,2 2-34 0,0 3 12 15,-2 4-36-15,0 1 30 0,1 3-33 0,0 1 35 16,-3 4-4-16,3 2-9 0,-4 5-8 0,0 2-4 16,-5 1-4-16,-3 3 0 0,-3-1 22 0,-3 1 9 15,0 1 1-15,-4-2-4 0,2-1-1 0,-1 0-4 16,-1-2 2-16,3-3-11 0,-2 0-3 0,0-3-17 15,1 2 5-15,1-3 6 0,1 0-3 16,0-7 0-16,6 8-2 0,-6-8 0 0,13 1-13 0,-13-1 7 16,19-2 2-16,-6-1-36 0,0 0-44 0,2-4-42 15,1 3-48-15,0-2-40 0,-2-2-40 0,4 0-304 16,1-2-41-16</inkml:trace>
  <inkml:trace contextRef="#ctx0" brushRef="#br0" timeOffset="-48770.59">16846 14451 41 0,'4'-5'281'0,"-4"5"-73"15,13-3-24-15,-13 3-63 0,13 2 37 0,-6 1-47 0,1 4 12 16,2 0-44-16,-1 4 19 0,0-1-41 0,1 5 19 15,-1-2-37-15,-4 2 23 0,2-1-33 0,-2 1 22 16,-3 1 40-16,0-1-17 0,-2-2 26 0,-2 0-13 16,-3 0 21-16,0 1-12 0,0-5 0 0,1 1 4 15,-5-3-21-15,2-2-5 0,-1 1-19 0,0-4-13 16,8-2-5-16,-19 0-4 0,13-2-21 0,-1-5 12 16,-2 0-11-16,3-5-16 0,0 1 23 0,0-4 0 15,3-2-7-15,-4-2-12 0,3-3-14 0,-4 0-13 16,1-3 18-16,-2-1-10 0,1-2 3 0,-3 3-1 15,-2 0 4-15,-1 2-5 0,1 3 11 0,-2 4-9 16,0 2 7-16,-3 3-5 0,0 4 7 0,1 2-3 16,-1 4 4-16,-1 2-2 0,3 2 4 0,0 2-5 15,1 1 10-15,5 4-5 0,-1 1 8 0,5 1-7 0,0 1 1 16,3 0 5-16,6 3 3 0,2-1-21 0,4 3-14 16,2 2-44-16,4-1-7 0,5 1-65 15,0-1-25-15,3 1-73 0,0-2-113 0,2-2-145 16,-1 0 7-16</inkml:trace>
  <inkml:trace contextRef="#ctx0" brushRef="#br0" timeOffset="-48495.74">15572 15631 375 0,'-37'16'456'0,"9"-3"-100"0,2-3-86 0,6 0-56 16,1-2-47-16,5-1-27 0,1-2 7 0,5-1 32 15,8-4-22-15,0 0-8 0,13-4-11 0,7-4-19 16,17-6-1-16,7-4-5 0,16-6-10 0,5-3-6 16,4-3 14-16,8-2-15 0,16-7-3 0,2-3-19 15,3 4-1-15,-1-2-20 0,0 3-22 0,-2 0-53 16,-16 6-23-16,0 1-61 0,-3 1-26 0,-2 3-45 15,-4 0-62-15,-3 6-29 0,-7 1-68 0,-14 6-457 0,-5 3-317 16</inkml:trace>
  <inkml:trace contextRef="#ctx0" brushRef="#br0" timeOffset="-48245.74">16137 15754 148 0,'-40'15'555'16,"8"-3"-95"-16,8-2-57 0,4-3-43 0,4-1-55 0,6-4-79 15,10-2-47-15,0 0-39 0,3-9-4 0,12-4-1 16,9-4 11-16,15-7 4 0,14-7-14 0,7-3 0 16,7-2-2-16,3 0-9 0,18-7-2 0,-14 8-25 15,2-1 1-15,-1 2-11 0,-1 2-12 0,-1 0-15 16,-4 3-13-16,1 1-5 0,-6-1-22 0,-2 5 11 16,-9 0-16-16,-7 4 9 0,-6 2-15 0,-4 1 12 15,-7 4-16-15,-3 0 14 0,-6 3-12 0,-2 2-23 16,-4 0-83-16,0 1-79 0,-4 2-126 0,-6 1-142 15,-4 4-81-15,0 0-445 0,-1-7-563 0</inkml:trace>
  <inkml:trace contextRef="#ctx0" brushRef="#br0" timeOffset="-41018.08">29516 11964 102 0,'-3'-7'298'15,"-1"-2"-70"-15,2 4-44 0,-2-1-11 0,3 1-11 0,-3-1-27 16,4 6-36-16,-5-8-22 0,5 8-17 15,-2-6 13-15,2 6 26 0,0 0-14 0,0 0-8 0,0 0 37 16,-12 3 3-16,12-3-17 0,0 0-27 16,-5 6-6-16,5-6-26 0,3 5 27 0,-3-5 16 15,6 6-8-15,-6-6 0 0,22 2-22 0,-4-3 14 16,2 0-22-16,6-3 10 0,7-1-19 0,9-4 4 0,2-1-16 16,0-2-1-16,4-1-37 0,-4-1-20 0,0 1-42 15,-3-2-42-15,-2 0-56 0,-4 2-67 16,-7 0-124-16,-2 0-267 0,-6 1-141 0</inkml:trace>
  <inkml:trace contextRef="#ctx0" brushRef="#br0" timeOffset="-3368.19">24924 14316 112 0,'0'0'254'0,"-5"-3"-64"15,5 3-30-15,0 0-36 0,0 0-23 0,-2-7-22 16,2 7-16-16,0 0-13 0,-3-10-11 0,3 10-8 15,0 0 6-15,-2-8 9 0,2 8 8 0,-2-6-11 16,2 6-11-16,-2-7-6 0,2 7-6 0,-3-5 4 16,3 5-6-16,-4-5-7 0,4 5-2 0,-7-4-4 15,7 4 0-15,-10-2 0 0,10 2 0 0,-16-1-3 16,16 1-1-16,-16 0-1 0,4 0-2 0,-1 1 1 0,0 1 1 16,0-2-2-16,-2 1-1 0,-1-1 2 15,-1 0-6-15,-2 3 0 0,1-3 4 0,-1 0-1 0,-1 0 2 16,1-1 3-16,-1 2-2 0,1-2-5 0,2-1 4 15,-2 2 1-15,1-1-2 0,3 0 3 16,1 0 12-16,0 0 1 0,1 0-1 0,-1-1-4 16,1 2 1-16,13 0-1 0,-20-1-2 0,20 1-5 0,-17-1-6 15,17 1 5-15,-14 1-4 0,14-1-2 0,-17 6 4 16,9-2 10-16,1 2 43 0,-1 1-5 0,3 3-6 16,-2-1-13-16,-1 4 6 0,2 1-24 15,1 0 22-15,1 1-23 0,0 2 56 0,0 1-35 0,0 2 24 16,0 0-33-16,3 3 15 0,-1 0-25 0,0-2 52 15,0 0-20-15,0-1 14 0,1 0-9 0,1 1-14 16,0 0 7-16,-1 0 4 0,0 0 0 0,-1-1-13 16,0-1-1-16,-1-1-9 0,2 0-6 0,-2-1 1 15,1-3-3-15,-2 2 2 0,0-3-7 0,4-2 4 16,-4-1-9-16,3 2 1 0,-2-4 4 0,2 0-2 16,0-2 6-16,0 1 10 0,-1 0 9 0,2-7 5 15,-2 10-6-15,2-10 11 0,0 9-2 0,0-9-6 16,2 6-4-16,-2-6-13 0,9 4-7 0,-9-4 6 15,16 3-7-15,-6-2 4 0,0 0-2 0,4 2-4 0,0-2-3 16,5 1 0-16,-2-1 2 0,2 2 2 16,4-1 4-16,1-1-10 0,2 2 11 0,1-1-11 15,2 2-1-15,-1-1-1 0,6 1-1 0,0-1-1 16,4 0 6-16,-3 0-2 0,3 0 6 0,-2-1-4 0,2 1-1 16,2-1-2-16,-2 0 3 0,-2 0-5 0,1-1 3 15,-1 0 2-15,2 1-5 0,-6 0 4 0,-1-2-1 16,0 1 3-16,-1 0 0 0,0 0-9 0,-1 1 7 15,-1-1-20-15,-1 0 28 0,0 0-14 0,0 0 3 16,-2 0 5-16,-2 1-7 0,-2-1 2 0,2 0-8 16,0-1 7-16,-3 2 2 0,3-2-1 15,-2 1 4-15,0-2-5 0,1 1-1 0,-1 0 11 0,0 0 4 16,-3-2-2-16,1 2-4 0,-1-1 2 0,0 0-4 16,-1 1-2-16,-3-2-2 0,1 1 8 0,-3 0 2 15,-1 1-3-15,-11 0 1 0,21-2-1 0,-21 2-4 16,14-1-33-16,-14 1-13 0,12-2-42 0,-12 2-30 15,0 0-93-15,11-3-86 0,-11 3-101 0,0 0-192 16,-4-9-102-16</inkml:trace>
  <inkml:trace contextRef="#ctx0" brushRef="#br0" timeOffset="-2674.21">25078 14136 95 0,'7'3'293'0,"5"-1"-81"0,2 2-37 0,9 2-22 16,1-1-9-16,8 0-24 0,1 0-16 0,3 1-9 16,8 1-11-16,0 0-13 0,2-1-11 0,-1 0-17 15,4 1-3-15,-5 0-8 0,1-1-10 0,0 0-1 16,-7 0-1-16,-2-1-2 0,2 0-9 0,-4 1 4 15,-1-1-6-15,-5-1 0 0,-1 0-2 0,-3 1-3 16,-1-1 1-16,-4-2 0 0,-1 1-6 0,-3 0-2 16,-2-1 5-16,1 0-2 0,-3 1 3 0,-1 0 1 15,0-2 6-15,-10-1 3 0,15 3 3 0,-15-3 1 0,13 3-3 16,-13-3-9-16,10 1 3 0,-10-1-3 16,9 2-2-16,-9-2-2 0,9 4 4 0,-9-4 7 15,8 5 23-15,-8-5-6 0,8 6-1 0,-8-6-5 16,7 9-5-16,-3-4-4 0,1 1-2 0,0 2-2 15,-1-2-18-15,0 3 20 0,0 1-26 0,0-1 29 0,0 2-26 16,-1 0 25-16,4 2-21 0,-5 1 24 16,3 1-21-16,-1 0 68 0,0 1-22 0,0-1 11 0,0 2-24 15,1 1 15-15,-1 0-10 0,-1-1 18 0,1 1-14 16,-1 0 35-16,-1 0-18 0,1 0-10 0,-2 0-7 16,1 0-2-16,-2 0 7 0,-2 0 9 0,0 0-4 15,-1 0-4-15,-1-1 13 0,-1 0 23 0,0-3-8 16,-4 4-11-16,0-1 34 0,-4-1 3 0,-2-1-17 15,-3 0-13-15,2-4-8 0,-7 4 1 0,3-4-14 16,-5 1 12-16,-2-3-18 0,0 1 5 0,-2-3-18 16,2-1 8-16,0-1-14 0,-2-1 8 0,1-1-15 15,1-1 9-15,-3-1-11 0,2-1-24 0,1-1-78 16,-1-3-32-16,4 0-62 0,0 0-107 0,3 0-65 16,2-2-532-16,4-2-446 0</inkml:trace>
  <inkml:trace contextRef="#ctx0" brushRef="#br0" timeOffset="17280">24753 9589 301 0,'0'0'303'15,"0"0"-96"-15,0-8-4 0,0 8-43 0,0 0 6 16,0-9-38-16,0 9 11 0,0 0-38 0,0-10 3 15,0 10-34-15,-1-7 5 0,1 7-40 16,-4-6 10-16,4 6-25 0,-11-6 14 0,11 6-27 0,-16-5 19 16,5 3-26-16,-1 1 21 0,-1-1-25 0,-2 1 21 15,2 1-20-15,-3 0 17 0,0 1-22 0,-3 1 25 16,0-1-23-16,2 2 17 0,0 0-16 0,0-1 14 16,0 0-18-16,3 2 14 0,0 0-10 0,4-1 10 15,-2 2-22-15,2 0 25 0,3 0-23 0,0 2 24 16,1 0-21-16,1 3 20 0,2-1-18 15,3 3 23-15,0 0 14 0,3 5 25 0,-1 1-22 0,2 3-4 16,-1 4 0-16,-1 0 4 0,1 2-4 0,-3 6-2 16,1 0 0-16,-1 2 7 0,-1 0-14 0,1 0 11 15,-2 0 0-15,1 0 14 0,0-1-9 0,0 0 2 16,-1-1-8-16,-3-1-3 0,3-5 16 0,-1 1-8 16,2-2 3-16,-2 1-4 0,1-2 7 0,-1 0-2 15,1-2 13-15,-2 1-9 0,0-1 15 0,0-2-9 16,-1-3-6-16,3 0-7 0,-2-3-9 0,2 0-5 15,0 1-2-15,-1-3 0 0,2-2-7 0,0 0 1 16,-1-3 9-16,2 1 34 0,-1-2 25 0,0 0 18 16,3-1-9-16,2-2-17 0,-4-4-13 0,13 7-9 15,-2-5-10-15,2 1-9 0,3-2-5 0,0-1-3 16,3 1-4-16,1-1-3 0,1 1-3 0,2-1-1 16,5 0-9-16,-1 0-4 0,4 0-1 0,-2 2-3 15,3-2 0-15,5 0-6 0,0 1-9 0,2-1 2 16,2 1-2-16,-2 0-7 0,1 0 8 0,1 0 3 15,0 2 0-15,-2-2 3 0,3 1 4 0,-2-1 2 16,0 1 0-16,-1-1 3 0,2 0 1 0,0 1-5 16,-1-2-1-16,2 1 2 0,-3-1 2 0,1 1 0 15,2-1-1-15,-3 1 4 0,0-1-1 0,0 2-3 16,0 0 2-16,-2-1 2 0,2 1 0 0,-2 0 2 16,2 1-2-16,-2 0 2 0,-1-1-2 0,1 0 0 15,-2 1 5-15,-1-1-4 0,3 1-1 0,-7 1 0 16,4-1 1-16,-1-1-2 0,-1 0 3 0,2 1 0 15,0 0-2-15,1 0 1 0,-1 1 5 0,4-2-5 16,-3 0 1-16,2 1 0 0,-2-1-2 0,0 0 4 16,1 1-2-16,-3 0 0 0,-2-1-4 0,0 0 4 15,-1-1 1-15,1 0-1 0,0 1 3 0,-2 0-1 16,3-1-3-16,-3 0 4 0,2 0-5 0,0 1 1 16,-2-1 1-16,2-1 5 0,0 3-4 0,-2-3 0 15,0 0 1-15,-1 0-3 0,2 0 3 0,-1 0-7 16,-1-1 0-16,0 1 6 0,-1 0-1 0,1-2 2 15,-2 2-3-15,1-1 0 0,0 1 1 0,-1-2-2 16,1 1 5-16,1 0-7 0,-1 1 3 0,0-1 1 16,-1 0 3-16,2 1-2 0,-1-1-3 0,1-1 3 15,0 2-2-15,1-1-1 0,1 1 2 0,-1-1-5 16,0 0 5-16,1 0 2 0,-1 0-1 0,2 1 0 0,-2-1 0 16,-1-1 0-16,2 1-1 0,-3-1 0 0,1 1 0 15,1 0-3-15,-1 0 7 0,0 0-4 16,-1 0 1-16,1-2 0 0,0 2-1 0,-1 1 1 0,3-1-3 15,-2-1 2-15,2 2 2 0,-3-3-3 16,5 2 0-16,-1 1 1 0,0-2 1 0,2 1 0 16,-1 0-1-16,2 0-1 0,-2 0 0 0,1 1 0 0,1 0 1 15,-2-1 0-15,1 1-1 0,-1 0 4 16,0 0 2-16,0 0-1 0,0 0-2 0,0 0-3 16,-2 0 2-16,1 0-2 0,-2 0 0 0,3-2 2 15,-2 2-1-15,0 0-3 0,2 0 4 0,-2-1-19 16,2 1 19-16,-2-1-12 0,2 1 12 0,-1-1-10 0,0 1 16 15,-1 0-18-15,2-1 16 0,-2 1-15 16,0-1 19-16,2 1-16 0,-2-2 19 0,0 2-18 16,1-1 13-16,-2 1-10 0,2-1 11 0,-2 1-12 15,1-2 17-15,-2 2-5 0,-1-1-1 0,-2 0 3 16,2 0-4-16,-4 0-13 0,0 1 15 0,-1-1-15 0,0-1 11 16,-1 1-14-16,2 0 17 0,0 0-25 0,-2 1 26 15,2-1-17-15,0 0 18 0,-1 1-12 16,3-3 12-16,-2 3-18 0,1-1 18 0,-1-1-16 15,-1 2 18-15,1-1-22 0,1 1 20 0,-1-1-19 16,-1 1 19-16,0-1-15 0,-1 1 16 0,0-1-14 16,-1 1 10-16,2 0-10 0,-4 0 14 0,3 0-15 0,-2 0 12 15,-1 1-12-15,1-1 10 0,-4 1-11 16,2-1 14-16,-2 0-16 0,2 1 15 0,-2-1-12 16,4 1 14-16,-1 1-15 0,-1-2 15 0,2 1-12 15,-2 0 10-15,2 1-12 0,-1-1 15 0,1 0-16 16,0 0 13-16,-2 0-11 0,2 0 11 0,-1 1-15 0,-2-1 19 15,5-1-20-15,-5 1 21 0,3 0-16 16,-2 0 20-16,2-1-17 0,0 0 13 0,-1 0-13 16,1 0 12-16,-2 0-11 0,3 0 10 0,0 0-15 15,-1-1 18-15,1 1-17 0,1-1 12 0,-2 1-13 16,1-1 19-16,-2 1-20 0,0-1 13 0,1 1-12 0,-3-2 16 16,0 1-16-16,-2 0 15 0,0 0-14 15,-1 0 12-15,0-2-7 0,-2 1 23 0,1-1-13 16,-1 0 11-16,-2 0-13 0,-1-1 12 0,-1 0-12 0,0-1 8 15,-3 0-16-15,0 0 13 0,-2 0-11 16,0-4 1-16,-1 3-3 0,0-2 2 0,-1 0-1 0,0-2 2 16,0-1-2-16,0-1 3 0,0 1-6 0,0-3-1 15,0-1 1-15,0 2 2 0,0-4-1 0,-1 0 1 16,0-1 0-16,-1 0 1 0,1-1-4 16,-2 0 1-16,2-1-1 0,-1-2-3 0,-1-1 9 15,-1 3-6-15,2 1 9 0,1-1-9 0,-2-1 13 16,0-1-16-16,1 2 13 0,-1 1-10 0,3-1 12 0,-2 1-9 15,2-1 11-15,-2 1-11 0,2-2 16 16,0 1 0-16,0 1 3 0,0 0-14 0,0-1 9 16,0 1-10-16,0 2 10 0,0 0-8 0,0 3 9 15,-1-1-11-15,0 3 6 0,-2-2-3 0,2 2 3 16,-2-1-8-16,-3 2 6 0,2-1-8 0,0 2 0 0,-1 0 3 16,0 0-3-16,-1 0 0 0,-2 2-3 0,0 0 10 15,2 1-6-15,-2-2 2 0,1 3-2 16,0-2 2-16,0 2-2 0,0 1 0 0,-3-2 0 0,1 2-1 15,-1 0 0-15,-3-1 0 0,2 0 3 16,-5 0 0-16,2 1-4 0,-4 0-5 0,3-1 13 16,-4 3-8-16,-2-3 8 0,-2 1-8 0,2-1 7 0,-2 2-7 15,-1 0 4-15,0-1-4 0,0 1 4 0,0 1-5 16,-2-1 6-16,2 1-1 0,-2-1-2 16,3 0 0-16,-2 2 1 0,-1-1-1 0,2 0-3 15,-2 1 3-15,1-2 1 0,-1 2 0 0,-2-1 3 16,1 1-3-16,2-1 0 0,-2 1-1 0,0 0 4 15,0-1-8-15,0 1 6 0,2-1-5 0,-1 1 4 16,1 1 1-16,-2-1-2 0,1 0-9 0,3 1 13 16,0 0-4-16,3 0 3 0,-2-1-3 0,0 1 4 15,2 0-7-15,-2 0 6 0,-1 0-3 0,3 1-1 16,-2-1-1-16,0-1 6 0,-2 1-5 0,2 0 1 0,1-1 1 16,-1 1 0-16,-5 0-3 0,6-1 2 0,-3 1-1 15,-3-2 4-15,2 0-4 0,1 0 3 16,-1 1-3-16,-2-2 0 0,3 2-1 0,-1-2 0 15,-1 1-3-15,4-1 2 0,-3 1-2 0,1 1 5 16,2 0-4-16,-1-1 6 0,1 1-7 0,0-1 6 16,1 0-4-16,-1 1 1 0,0 0 0 0,-1 1 2 0,-1 0-5 15,3 0 8-15,-3-1-4 0,3 1 7 16,-1 0-8-16,-1 0 0 0,0 1 0 0,0-1 2 16,0 0 0-16,0 1-1 0,0 0-2 0,1-1-1 15,0 1 0-15,-1 0 4 0,2-2-2 0,-1 2 7 16,0 0-7-16,0 0 3 0,-2-1-6 0,2 1 7 15,-1 0-3-15,0-2 0 0,-1 2-3 0,2-1 6 0,-3 0-4 16,0 1 4-16,3-1-1 0,0 0-4 16,-3 1 2-16,2-1 0 0,2 1 1 0,0-2 4 15,-2 1-8-15,0 0 4 0,3 1 1 0,-1-1 1 16,-2 0-4-16,2 0 4 0,1 1-3 0,-4-3 1 0,3 2-3 16,0 1 5-16,-2-2-4 0,0 1-2 0,-1 1 5 15,-1-1-1-15,-3 0 0 0,7 1 2 16,-6-1-6-16,3 0 6 0,-2 1-4 0,3 0 2 15,-3-2-2-15,2 2 3 0,1 0-3 0,1-1 3 16,-1 1-3-16,0-1 5 0,0 1-4 0,-2-1 0 16,-1 1 0-16,-1 0 1 0,1-1 0 0,-3 1 1 0,1 0-4 15,0 0 5-15,-2-1 3 0,-1 1-4 16,0 0-3-16,-1 0 6 0,0-2-2 0,0 1 2 16,0 0-7-16,2-2 6 0,0 2-5 0,0-1 1 15,2-1 0-15,-2 1-2 0,2-1-1 0,2-2 5 16,-2 1-3-16,4 0-2 0,-3 1 3 0,4-1 1 0,-2 1-1 15,2 0-1-15,2 0 1 0,0 0-4 0,1 2 5 16,0-1 2-16,1 1-4 0,1-1 1 16,-1 1-1-16,1 0 0 0,0 1 0 0,1-1 1 15,2 1-4-15,2 0 4 0,-2-1-1 0,-1 2 0 16,1-1-1-16,0 1 4 0,-1-1-2 0,5 0 3 0,-2 0 0 16,2 1-2-16,11-1-6 0,-18 0 5 0,18 0-4 15,-22 1 3-15,7-1-5 0,1 2 2 16,-2-2 0-16,2 1 4 0,-4-1-4 0,4 1 3 15,-2 0-5-15,0 0 3 0,-3 0-2 0,1 1 2 16,2 0-1-16,-3-1 1 0,2 2-2 0,-2-1 1 0,1-1-1 16,-1 2 6-16,1-1-4 0,1-1 3 0,-1 0-3 15,4 1 3-15,-1 0-2 0,1-1 3 16,-1 0-4-16,0 1 5 0,0-1-6 0,1 0 2 16,-1 0-3-16,-1 1 2 0,1-1-12 0,2 0 4 15,-2 0-7-15,1 0 9 0,0 0-8 0,-2 1 13 16,2-1-10-16,0 0 4 0,0 0-10 0,0 0 14 15,0 0-14-15,-4 2 17 0,2 0-10 0,-2-1 14 0,2-1-13 16,-3 1 15-16,1 1-15 0,2-2 10 16,-2 1-10-16,0 1 7 0,0 1-11 0,1-2 15 15,-2 1-10-15,0-1 14 0,1 0-15 0,0 1 13 16,2 0-9-16,-2 1 12 0,0-2-11 0,1 0 11 0,-2 0-14 16,2 0 15-16,2 0-12 0,-3-1 10 0,4 2-8 15,0-1 11-15,0 0-12 0,3-1 11 16,-3 0-11-16,1 0 10 0,1 1-14 0,0-1 18 15,12-1-12-15,-21 1 11 0,8 0-13 0,3-1 10 16,-3 0-11-16,2 1 13 0,-2 0-15 0,0-1 15 0,-1 1-16 16,-1 1 17-16,-2-1-13 0,1 1 13 0,-2-1-15 15,-3 0 14-15,1 0-12 0,-1 0 10 16,-2 0-12-16,2 1 16 0,-4-1-14 0,1 0 10 16,0-1-11-16,2 1 13 0,-1-1-11 0,4 0 11 15,-3 0-15-15,2 0 16 0,-2 0-14 0,0 0 9 0,2 0-8 16,2 0 8-16,-4 0-8 0,3 0 14 15,2 0-15-15,-2 0 14 0,4 0-15 0,-2 0 14 0,3 0-11 16,-1 0 11-16,1 0-13 0,0-1 14 16,1 1-15-16,0-1 16 0,2-2-13 0,-1 2 11 0,1 0-15 15,-1 0 15-15,1-1-15 0,-1 0 15 0,-1 1-11 16,1-2 13-16,0 2-17 0,1 0 15 0,-1 0-13 16,1 0 13-16,-1 0-13 0,-1-1 13 0,13 2-15 15,-18-1 14-15,18 1-10 0,-19-1 14 16,19 1-20-16,-19-1 18 0,19 1-14 0,-14 0 14 0,14 0-13 15,-15 0 16-15,15 0-21 0,-12 2-65 0,12-2-48 16,-13 5-50-16,13-5-23 0,-10 9-97 0,5-2-90 16,3 0-373-16,0 0-270 0</inkml:trace>
  <inkml:trace contextRef="#ctx0" brushRef="#br0" timeOffset="24347.73">24770 8903 98 0,'0'0'148'0,"0"0"-33"0,1-7-34 0,-1 7-6 16,0 0-15-16,0-6-16 0,0 6-8 15,0 0-5-15,0 0-5 0,0-10 9 0,0 10-2 16,0 0-11-16,0 0-2 0,-1-8-8 0,1 8-4 15,0 0-2-15,-3-5-3 0,3 5-1 0,0 0-2 16,-9-5-6-16,9 5 5 0,0 0-3 0,-14-2-1 16,14 2-1-16,-13 2 3 0,13-2-4 0,-14 3 2 15,3 0 7-15,1 0-5 0,-1 0-1 0,1 1 0 16,0-1 1-16,0 2 3 0,-2-1-1 0,2 0 1 16,0 0-21-16,-2 2 23 0,1-1-19 0,-2 0 23 15,2 2-22-15,0-1 23 0,-1-2-23 0,3 1 29 16,-2 2-24-16,1-3 22 0,1 1-21 0,0 1 23 15,2-1-26-15,-1-1 27 0,0 0-19 0,3 2 20 16,0-1-25-16,-1 0 23 0,2 0-19 0,1 1 47 16,-2 1-24-16,3 0 62 0,-1 2-6 0,0-1-14 15,2 3-9-15,-1-2-9 0,0 2-10 0,2 3-1 16,0-3-5-16,-2 4-5 0,2 2 14 0,-3 1-7 0,2 0 24 16,-2 1-29-16,2 0 17 0,0 4-24 15,0-1 15-15,-1 0-22 0,2 2 20 0,-2-2-18 16,-1-2 19-16,3 0-3 0,0 0-9 0,-1-2 14 15,0 0-22-15,-1-1 15 0,2-1-17 0,0-2 22 16,-1-3-18-16,1 2 15 0,-1-3-20 0,1 0 25 16,0-2 1-16,0 0 55 0,-2-2 10 0,4 1 15 15,-2-7-24-15,2 8-8 0,-2-8-26 0,9 7-2 16,-9-7-16-16,17 2 1 0,-7-3-10 0,5 0-9 16,-2-1-5-16,6 0 3 0,-1-1-10 0,3 1 12 0,4-2-14 15,0 1 7-15,0-1-12 0,5 2 12 16,0-2-13-16,4 2 9 0,1-1-6 0,2 1 5 15,-2-1-9-15,2 1 11 0,0 1-4 0,0-2 3 16,1 2-11-16,1 1 7 0,0-1-10 0,0 1 2 16,0-1-9-16,1 1 6 0,-2 0-12 0,3 0 9 15,-1 0-14-15,-1 1 17 0,0-1-6 0,0 0 11 16,2 1-10-16,0 0 13 0,1 0-15 0,-1 1 15 16,0-1-13-16,2 1 7 0,6-1-2 0,-7 1 7 15,2-1-9-15,0-1 16 0,-1 1-16 0,-1 1 11 16,2-2-9-16,5 0 12 0,3 0-11 0,-1 0 12 15,2 0-15-15,1-2 7 0,2 2-6 0,1 0 12 16,2 0-12-16,2 0 7 0,1 2-4 0,-1-2 10 16,0 2-12-16,1-1 11 0,-2 0-5 0,1 2 6 15,-2-1-15-15,-1 1 17 0,0 0-16 0,3 0 12 16,-1 0-5-16,1-1 5 0,0 2-12 0,3-1 9 16,-2 1-5-16,0-1 12 0,1 0-17 0,-2 0 14 0,-1 0-8 15,2 0 9-15,-2 2-10 0,0-2 7 16,1-1-11-16,0 2 9 0,-1 1-13 0,0 0 19 15,2-2-18-15,-1 2 13 0,-1 0-15 0,0 0 14 16,0-1-11-16,-2 0 12 0,-1 1-8 0,-2 0 9 16,0-1-7-16,0 1 11 0,-1 0-8 0,-2 0 5 15,1 0-11-15,-1-1 13 0,0 2-19 0,0-1 19 16,0-1-18-16,0 0 17 0,0 2-16 0,1 0 10 16,-1-2-11-16,0 1 16 0,1 0-14 0,-3 0 12 15,-1-1-15-15,-1-1 18 0,-9 1-16 0,0-1 15 16,0 0-13-16,-4-1 14 0,-3 0-11 0,-2-1 14 15,-1 1-15-15,-1-2 13 0,-1 1-19 0,-4-1 20 16,-1 1-15-16,-1-1 14 0,0 0 3 0,-2 0-5 16,2 2 4-16,-3-2-3 0,1 0-3 0,-4 0-2 15,0 0 4-15,-1 0-4 0,2 0 5 0,-3 0-4 16,2 0-1-16,0 1 5 0,-1-1-1 0,4 1-3 0,1 0 2 16,-1 0-1-16,3 2-1 0,-1-2 3 0,-1 1 0 15,3-1-13-15,2 2 19 0,2-2-18 0,1 3 13 16,-2-2-12-16,2 0 13 0,1 1-13 15,0 0 14-15,-1 0-14 0,-1-2 15 0,0 1-15 16,0 1 18-16,-5-1-15 0,-1 1 13 0,-2-2-12 16,-1 0 10-16,-3 0-14 0,0 0 9 0,-3 0-33 0,1 1 15 15,-12-2-24-15,16 1 10 0,-16-1-21 16,15 1 15-16,-15-1-29 0,13 0 8 0,-13 0-19 16,0 0-14-16,14 1-12 0,-14-1-12 0,0 0-13 15,0 0-26-15,0 0-192 0,0 0 197 0</inkml:trace>
  <inkml:trace contextRef="#ctx0" brushRef="#br0" timeOffset="26305.81">30475 9641 86 0,'14'-6'134'0,"-5"4"-20"16,2 0-23-16,2 0 2 0,2 1-21 0,3 1-11 16,1-1-9-16,1 2 6 0,1-1-9 0,2 1-6 15,0 1-7-15,-1-1 1 0,2 1-2 0,2-1-8 0,-4 1-2 16,-2 0-6-16,3 0-3 0,-4-1 26 16,1 1-7-16,-1 0-4 0,-3 1-8 0,0-1-6 15,-2-1-7-15,-2 1-4 0,0 0-3 0,-1-1-4 16,-11-1-6-16,17 2 2 0,-17-2-2 0,15 3 6 15,-6 2-4-15,-2-2 4 0,-1 2-1 0,2 1 4 0,-1 0 34 16,-1 2-3-16,-1 0-9 0,1 3-2 16,2 0-5-16,-3 3-4 0,1 0-20 0,-1 2 32 15,2 4 48-15,0 0-1 0,-3 3-26 0,1 2 3 16,0 3-7-16,1 2-6 0,-1 0-9 0,0 2-11 16,-3 1 6-16,1-1 1 0,-2 1-4 0,0 2-1 15,-2-1-4-15,0 1-2 0,0 0-3 0,-1 0-2 0,2 1 3 16,-1 0 0-16,0-2-2 0,1 3-21 15,-3-1 32-15,6 0-21 0,-3 0 17 0,0-1-14 16,0 0 36-16,-3 0-1 0,2 0-5 0,-3 0-2 16,2 0 1-16,0-1-11 0,0 0 0 0,-1-2 1 15,3-2-1-15,0-2-3 0,-2 1-5 0,0-2 0 16,1 1 7-16,0-3 30 0,-2 3-4 0,1-4-8 16,0 0-7-16,-3 1-6 0,3-2-7 0,-2-2-8 15,1 1 10-15,-2-4-15 0,3 0 13 0,-4 0-15 16,1 0 11-16,-2 0-8 0,0-1 17 0,-2 0 30 15,-1-2-6-15,0 0-13 0,1-2 2 0,-2-1-9 16,0 0 0-16,0-1-11 0,-2-2-2 0,0 1 8 16,2-2-8-16,-5 1 2 0,2-4-1 0,-1 2 0 15,0-1 1-15,-3-3 1 0,-1-1-2 0,-1 0-3 16,-3-1 3-16,1 1-4 0,-8-4-2 0,1 1-1 16,-2-1 0-16,-5 0 0 0,-1-1 4 0,-1-1-6 15,-2 0-3-15,-5-2 7 0,1 2-6 0,-2-2 0 0,2 1-1 16,3 0 2-16,4 1-1 0,-2 0-2 15,0-3-2-15,0 4 7 0,2-2-10 0,1 1 7 16,-1-1 1-16,1 0-3 0,-2 1 1 0,1 0 10 16,0-1-9-16,-2 0 0 0,1 1 0 0,0 0 12 15,-1-1-15-15,2 0 5 0,-1 0-2 0,-2 0 1 16,2-1-5-16,-4 1 15 0,2 1-15 0,2-2-1 16,-5-2-1-16,5 4 12 0,-3-2-10 0,-2-2-2 15,6 2 4-15,-1 1 2 0,-1-2-6 0,-3 0 8 16,-3 0-4-16,2 1 4 0,-2 0-4 0,2-1 3 15,-5 1-8-15,4 0 9 0,-4-2-7 0,2 3 6 16,-2 0-1-16,2-3 3 0,-3 4-4 0,3-1 0 16,-2 0-5-16,0 0 7 0,2 0-6 0,0 1 4 15,0 0-7-15,0-1 7 0,-2 0-3 0,0 2 8 16,-1-1-9-16,-3 1 6 0,1-2-4 0,0 2 4 16,-1 0-6-16,1-1 4 0,0 1-2 0,0-1-2 15,2 0-4-15,0 2 4 0,2 0-3 0,5-1-8 0,1 1 4 16,1 0-8-16,-2 1 3 0,3-2 1 15,0 0-1-15,-3 2 3 0,2 0 1 0,1 1-5 16,-3-1 2-16,1 1-5 0,0 0 5 0,-1 0-11 16,2-1 11-16,0 1-2 0,-2 0 6 0,4 0-5 15,0 0 12-15,0 1-10 0,6-1 5 0,2 0 0 16,-1 0 6-16,0 0-9 0,3 0 12 0,0 0-10 16,0 0 9-16,1 1-9 0,1-1 13 0,4 0-14 15,-3 1 11-15,0-1-6 0,1 1 12 0,1 1-13 16,-2-2 13-16,-3 1-14 0,4 2 11 0,-3-2-5 15,2 0 5-15,-2 0-8 0,2 1 5 0,0 0-6 16,-1-1 9-16,1 0-10 0,1 1 8 0,-2-1-6 16,2 1 10-16,-3 0-11 0,1 1 8 0,-2-2-8 15,3 1 6-15,-2-1-9 0,-1 2 16 0,1-1-14 16,-1-1 9-16,1 2-10 0,-1-1 10 0,0 2-4 16,1-2 3-16,-1 1-7 0,0 0 10 0,1-1-16 15,2 2 15-15,-3 0-9 0,4 0 10 0,0-1-7 0,0-1 6 16,2 2-4-16,1 0 6 0,0-1-15 15,1 1 12-15,-3 1-10 0,2-2 10 0,-1 2-10 16,0 0 12-16,-1 0-6 0,2-1 2 0,0 1-2 16,-1 1 4-16,-1-2-10 0,-1 2 17 0,2-1-17 0,-1 1 13 15,-1-3-12-15,0 3 13 0,1-1-10 0,-2 0 4 16,-1-1-7-16,1 2 13 0,-1-2-13 0,2 1 11 16,-3-2-10-16,2 2 13 0,-2-1-13 15,2 1 10-15,-2-2-6 0,0 0-7 0,3 1 3 16,-1 0 1-16,1-1 2 0,4-1 0 0,3 0 2 0,-1-1 3 15,5 1-7-15,-2-1 4 0,2 0-1 0,-1-1 1 16,3 2 1-16,11-2 0 0,-19 0 0 16,19 0 9-16,-17-2 19 0,17 2-3 0,-18-2 0 15,18 2-7-15,-13-5 0 0,4 0-3 0,2 1-2 0,0-3-7 16,0 0 3-16,-1-1-9 0,-1-1 1 0,1-3 0 16,-1 1 1-16,-2-4 4 0,1-2-3 0,-1-1-5 15,1-2 4-15,-4-4-3 0,4-3 3 0,-3 1-5 16,2-3 0-16,-1 1-1 0,-3-6-2 0,3 0 0 15,0 7 5-15,0-3-3 0,-1-1-20 0,2 4 24 16,-1-3 3-16,1 2-1 0,-1-2-1 0,2 3 0 16,-3-2 2-16,3 0-5 0,0 0 4 15,-2 0-8-15,3 0 8 0,0-2-2 0,0 2 1 16,3-4-8-16,0 1 9 0,-1-2-5 0,1 0 0 0,2 0-5 16,0-1 10-16,-1-1-7 0,3 0 1 0,-2 1 1 15,0 1 2-15,1 2-21 0,-2-1 23 0,3 1-3 16,-1 2-2-16,-1 4 0 0,2-1 0 15,-2 2 7-15,-1-1-8 0,0 0-3 0,-2 2 11 0,2-1 1 16,-1 1-12-16,1 0 12 0,-2-1-9 0,2 2 6 16,-2-1-7-16,-1-3 9 0,1 4-10 0,0-4 4 15,-2 0-2-15,1 0 2 0,0 0-1 0,3 4-2 16,-2-1-4-16,2 1 9 0,1-1-5 0,0 1-1 16,1 2 0-16,-1 1-3 0,3 2 5 0,0-1-3 15,0 1 0-15,1 1 2 0,0 0 5 0,1 5 0 16,-1-4-2-16,1 1 0 0,2 1-19 0,-1-1 23 15,2 3-16-15,1-2 17 0,-1 0-2 0,1 2 2 16,3 0 9-16,-2-2-13 0,3 3-6 0,1-1 2 16,-1-1-2-16,2 3 5 0,1-3-6 0,1 0 9 15,0 2-11-15,1 0 13 0,-2 3-11 0,0-3 11 16,1 2-9-16,0-1 8 0,0 2-11 0,-2 0 11 16,1 1-11-16,-1-2 5 0,1 2 0 0,0 1 4 15,1-1-15-15,1 1 11 0,2 1-11 0,0-1 8 16,1 1-8-16,3 2 3 0,-1 0-3 0,7 0 10 15,2 0-10-15,2 2 2 0,0 0 0 0,10 1 10 16,-2 0-12-16,4 2 11 0,8 1-13 0,-1-1 25 16,2 0-25-16,1 2 12 0,-2-2-17 0,1 3 6 15,0 0-9-15,-1-1 11 0,1-1-14 0,-5 2 4 16,3 0-14-16,-1-2 24 0,-8 0-15 16,0 0 19-16,-2 0-20 0,3 0 16 0,-3 1-9 0,1 0 15 15,-2-2-15-15,2 0 23 0,-2 1-20 0,-1 0 19 16,1 0-12-16,3 1 15 0,-2-2-15 0,0-1 17 15,2 2-15-15,-2 0 14 0,1-1-15 0,-1 1 3 16,-1-1-7-16,3 1-20 0,-2-1-7 0,-1-1-10 16,4 2-14-16,-1-1 8 0,-2 0-38 0,2-1 13 15,-1 3-25-15,2 0-20 0,-1-2-4 0,-2-1-229 16,2 2 183-16</inkml:trace>
  <inkml:trace contextRef="#ctx0" brushRef="#br0" timeOffset="171107.13">19598 8465 270 0,'-2'-6'257'0,"2"6"-35"15,-1-12-36-15,1 12-32 0,0-9-29 0,0 9-35 16,-1-8-25-16,1 8-17 0,0 0-13 0,-1-7-6 16,1 7 4-16,0 0 3 0,0 0 24 0,0 0 42 15,2 7-14-15,-2-7-16 0,4 11 17 0,0-5 28 16,-2 3-21-16,0 0-20 0,0 1-14 0,1 0 0 15,-1 2-26-15,1 4 9 0,-2-2-13 0,2 2 0 16,-2 1-7-16,0-1 0 0,1 3-9 0,-1-1 5 16,0-2-8-16,-1 2 9 0,0-1-12 0,1 0 7 15,1-1-10-15,-2-2 2 0,0 0 7 0,0 1-2 16,0-4-4-16,0 2 5 0,0-1 0 0,1-3 5 16,-1 2-78-16,0-4 0 0,0 0-8 0,0-7 9 15,4 11-28-15,-4-11-42 0,3 6-58 0,-3-6-32 16,8-3-84-16,-3-3-207 0,2-3-3 0</inkml:trace>
  <inkml:trace contextRef="#ctx0" brushRef="#br0" timeOffset="171423.76">19870 8549 46 0,'0'0'187'0,"13"2"-37"0,-13-2-9 16,0 10-3-16,-4-3-17 0,-1 1 6 0,-3 5-17 0,-2-3-15 15,-3 4-11-15,-1 0-10 0,-1-3-8 0,1 1 3 16,2-2-34-16,-1-1 24 0,3-1 14 0,2-2 56 15,0 0 5-15,1-1 19 0,1 0-44 16,6-5-8-16,-12 5-38 0,12-5-1 0,-7 3-30 0,7-3-1 16,0 0-22-16,0 0 3 0,0 0-24 0,1 7 16 15,-1-7-26-15,9 6 24 0,-9-6-20 16,14 6 19-16,-6-1-17 0,2 0 13 0,-1 0-8 16,2 1 47-16,2 1-17 0,-3-1 12 0,3 0-9 0,0 1 23 15,-2-1-7-15,1 0-8 0,-3 0-3 0,1 0 2 16,-2-2-9-16,2 1 3 0,-4-1-11 0,3 0 3 15,-4 0 0-15,-5-4-2 0,12 6 0 0,-12-6-1 16,9 4-1-16,-9-4 3 0,7 4 2 0,-7-4-2 16,9 3-18-16,-9-3-37 0,0 0-48 0,0 0-52 15,11 1-165-15,-11-1-394 0,5-5-208 0</inkml:trace>
  <inkml:trace contextRef="#ctx0" brushRef="#br0" timeOffset="171660.42">20177 8575 263 0,'0'0'489'16,"0"0"-54"-16,0 0-75 0,0 0-72 0,0 0-9 15,0 0-62-15,-12-2-47 0,12 2-44 0,4-5-18 16,-4 5-20-16,8-8-22 0,-2 4-9 0,4 1-7 15,2-3-16-15,-1 2 3 0,5 0-9 0,-2 1-63 16,4 0-54-16,-1 1-71 0,0 0-57 0,2 0-86 0,-1 2-113 16,-4-1-171-16,2 0-100 0</inkml:trace>
  <inkml:trace contextRef="#ctx0" brushRef="#br0" timeOffset="171803.41">20253 8731 259 0,'-6'7'414'15,"6"-7"-117"-15,-9 5-40 0,9-5-84 0,0 0-19 0,0 0-33 16,0 0-3-16,0 0-35 0,13-5 2 0,-6-1-32 16,5 0 13-16,2 2-32 0,0-3 18 0,3 2-79 15,1-1-38-15,1-1-93 0,2 0-83 0,-3 2-283 16,3-3-26-16</inkml:trace>
  <inkml:trace contextRef="#ctx0" brushRef="#br0" timeOffset="180956.63">20880 8347 20 0,'0'0'36'15</inkml:trace>
  <inkml:trace contextRef="#ctx0" brushRef="#br0" timeOffset="181205.63">20859 8360 42 0,'0'0'151'15,"0"0"15"-15,-6-4 14 0,6 4-3 0,-4-6-73 0,4 6 11 16,-3-5-5-16,3 5 2 0,-5-7-34 16,5 7 12-16,-4-5-20 0,4 5 1 0,0 0-49 15,-7-5 4-15,7 5-29 0,0 0 14 0,0 0 2 16,-3 7 27-16,2 0 20 0,1 1-4 0,-1 2-7 15,2 2 14-15,0 2-22 0,-1 1 16 0,0 2-22 0,1 1 34 16,1 0-30-16,-2 1 16 0,1-1-27 16,3 1 13-16,-2 0-17 0,0 1 8 0,0-1-17 15,1 0 17-15,-1 0-17 0,-2 2 22 0,2-2-12 16,-1 0-9-16,-1-1-87 0,0 0-36 0,0-1-67 0,1 0-27 16,-1-4-99-16,1-1-175 0,1-1 40 0</inkml:trace>
  <inkml:trace contextRef="#ctx0" brushRef="#br0" timeOffset="181420.63">21143 8677 23 0,'0'0'402'0,"5"10"-141"0,-4-4-40 0,-1 1-47 16,0 0-33-16,0 3-35 0,-1-1-14 0,-2 3-38 15,-3-1 12-15,0 3-31 0,-2 0 21 0,-1 2-29 16,-2-1 18-16,0 1-26 0,0-2 7 0,1 1-83 16,2-4-7-16,0 0-74 0,2 2-32 0,1-5-248 15,0 0 118-15</inkml:trace>
  <inkml:trace contextRef="#ctx0" brushRef="#br0" timeOffset="186486.87">21262 8429 200 0,'-2'-9'184'0,"1"1"-26"0,1 0-8 0,0 0-21 16,0-1 38-16,0-1-47 0,3 1-10 0,-2 0-49 15,5-1 5-15,-2 2-38 0,5-1 24 0,1 0-24 16,4 1 32-16,1 1-24 0,2 3 25 0,0-1-24 15,2 4 10-15,0 1-28 0,1 1 18 0,0 4-30 16,2 1-4-16,-3 4 17 0,0 2-2 0,-2 2 17 16,-1 4-20-16,-3 1 17 0,-3 2-24 0,-5 1 20 15,-3 2-16-15,-4 1 48 0,-2 2-18 0,-1 2 8 16,-5-3-22-16,0 2 30 0,-2-3 14 0,-2-2 15 16,4-3-30-16,-3-2-2 0,3-1-15 0,0-1 6 15,0-3-21-15,2-2 1 0,2 0-2 0,-1-3 7 16,3 1 5-16,-2-4 0 0,2 1-7 0,4-6-2 15,-2 9 4-15,2-9 2 0,6 2 10 0,-6-2-13 16,15 0 0-16,-4-1-7 0,3-1-5 0,1-3-2 16,1 0 5-16,3-1-10 0,1 1 10 0,0-3-15 15,0 2 10-15,-4-1-10 0,1 0 2 0,-1 3 0 0,-3-1 2 16,1-1-7-16,-2 2 7 0,-2 0-42 16,0 1-27-16,-1 0-6 0,-9 3-22 0,18-2-27 15,-18 2-62-15,13 2 9 0,-13-2-8 0,10 4-62 16,-10-4-12-16,9 7-32 0,-9-7-179 0,6 5 62 0</inkml:trace>
  <inkml:trace contextRef="#ctx0" brushRef="#br0" timeOffset="186641.87">21883 8675 165 0,'10'-5'402'0,"-10"5"-103"0,8-2-92 0,-8 2-23 16,0 0-58-16,7 4-7 0,-7-4-35 0,7 11 2 15,-5-5-32-15,-1 4 15 0,-1 1-29 16,-1 1 15-16,1 1-23 0,-2 1 17 0,-2 3-27 15,0 0-44-15,0 0-46 0,-1 2 7 0,0 1-63 0,-3-1-23 16,2 2-89-16,0-3-186 0,-1-1 110 16</inkml:trace>
  <inkml:trace contextRef="#ctx0" brushRef="#br0" timeOffset="190492.52">21888 10030 102 0,'0'0'105'0,"0"-12"17"0,0 12-67 15,-3-12-14-15,3 5-10 0,-1 0-11 0,-4-3-8 16,2 0-22-16,0 0-33 0,-3-3-98 0,1 0 40 0</inkml:trace>
  <inkml:trace contextRef="#ctx0" brushRef="#br0" timeOffset="192936.78">22140 8372 128 0,'0'0'255'0,"2"-9"-50"0,2 4-49 15,0-1-1-15,0 1 15 0,0 1-60 0,2 0-2 0,-1 0-48 16,-5 4 11-16,9-6-34 0,-9 6-9 0,13-3-3 16,-13 3-1-16,11 3 4 0,-11-3 8 0,12 6-1 15,-7 1-5-15,1 0-3 0,-2 1-3 0,-1 0-3 16,-1 2 22-16,-1 0-27 0,1 0 20 0,-2 1-25 15,0 0 19-15,1-2-27 0,-1 3 21 0,0-2-21 16,3 1 19-16,-1-2-28 0,0 2 25 0,1-1-15 16,2 0 15-16,0-1-24 0,3 1 26 0,1 0-28 15,1 0 22-15,1 2-20 0,0-2 18 0,0 2-14 16,4-1 21-16,-1 1-26 0,-3-1 23 0,-2 0-3 16,3 0 22-16,-3 0-20 0,-2 0 26 0,-3-2 2 15,-1 1 32-15,-2 0-14 0,-5 0 33 0,0 0-19 16,-5-1-7-16,-1 3-8 0,-4-3-12 0,-1 2-7 15,-2-4-3-15,-1 3-5 0,3-4-7 0,1-1 7 16,-3 2-10-16,4-4 5 0,-2 2-11 0,2-2 5 16,2 1-10-16,1 0 8 0,0-2-16 0,10-2-21 15,-15 3-54-15,15-3-95 0,-11 0-70 0,11 0-109 16,0 0-333-16,0 0-183 0</inkml:trace>
  <inkml:trace contextRef="#ctx0" brushRef="#br0" timeOffset="193107.37">22542 8668 102 0,'11'7'376'0,"-11"-7"-69"0,2 10-67 0,-2-10-25 15,0 14-57-15,0-8-1 0,-1 3-48 0,-2 1-2 16,-1 1-33-16,-1 0 4 0,1 2-36 0,-1 1 16 16,-1-1-26-16,0 2 11 0,0-1-19 0,1 1 12 15,1-1-85-15,0-1-5 0,3-1-75 0,-1-2-9 16,2 1-74-16,1-2-282 0,0-1 13 0</inkml:trace>
  <inkml:trace contextRef="#ctx0" brushRef="#br0" timeOffset="193489.37">22788 8488 417 0,'3'-11'411'0,"1"1"-88"16,-1 2-85-16,-2 3-49 0,-1 5-44 0,5-9-32 0,-5 9-21 15,0 0-18-15,0 0 42 0,0 0-7 16,0 0-13-16,4 9-32 0,-4-9 0 0,2 11-6 16,1-2 0-16,0-1-3 0,1 2-8 0,1 0 5 15,0 2-8-15,4-1 1 0,-2 1-17 0,1 0 8 16,4-1-8-16,-2 1 5 0,1-3-18 0,3 1 14 0,-1-2-12 16,2-1 5-16,-1-2-14 0,1-1 12 15,-1-2-11-15,-2-2 10 0,2-1-12 0,1-2 9 16,0-4-13-16,-1 0 8 0,0-1-17 0,-4-3 16 15,1 2-8-15,-1-4 5 0,-3 4 4 0,0-1 16 16,-2 3 10-16,-1-1-7 0,1 2-11 0,-5 6-1 0,1-8 2 16,-1 8-4-16,0 0 17 0,-10 4 1 15,5 1-3-15,0 2-16 0,-2 2 15 0,3 3-16 16,-3 3 9-16,3 2-11 0,-1 3 14 0,2 3-11 16,-2 1 10-16,1 1-8 0,0 5 15 0,-2 0-11 0,4 2-17 15,0-5-76-15,1 1-57 0,2 0-60 0,-1-1-82 16,2-1-70-16,0 1-89 0,4-3-268 0,-1-2-205 15</inkml:trace>
  <inkml:trace contextRef="#ctx0" brushRef="#br0" timeOffset="194469.51">20805 9180 211 0,'0'0'319'0,"0"0"-100"16,0 0-57-16,0 0-21 0,0 0-19 0,4 8 13 15,-4-8-10-15,-1 11-4 0,0-2-45 0,-1-2 17 16,-1 4 1-16,1-2-1 0,1 2 37 0,1-1-11 16,0-1-32-16,0 2-8 0,0-1-25 0,1 1 2 15,4-3 35-15,-2 3-13 0,1-2-1 0,5 1-8 16,2-3-14-16,7-1-12 0,5 0 9 0,5-2-25 15,11-3 8-15,0 0-4 0,15-2-7 16,2-1-10-16,4-2 17 0,13-1-18 0,2 1 9 0,1 0-18 16,-3 0 12-16,1 1-11 0,-13 1 11 0,-1 0-11 15,0 1 7-15,-2 1 1 0,-4 0-4 0,0 3-10 16,0-3 11-16,-4 1-14 0,2-1 12 0,-1 1-11 16,-2-1 7-16,-3 0-8 0,-2 0 8 0,-1 0-10 15,-2-1 11-15,0 0-8 0,-2 1 10 0,-3-2-13 16,-4-1 12-16,-3 2-11 0,-2-1 12 0,-1 0 1 15,-3-2 30-15,-3 1-18 0,-4-4 57 0,0 3 4 16,-3-3-18-16,0-2-11 0,-3 1-7 0,-2-3-9 16,-1 1 8-16,-2-2-4 0,-1 0-6 0,0 2-5 15,-4-4 8-15,3 2-6 0,-5 0-5 0,2-1-2 16,-1 1-4-16,1 2-6 0,0-1 1 0,-1 4-13 16,0 0-93-16,-1 1-35 0,2 6-51 0,-6-5-94 15,6 5-79-15,-10 6-120 0,5 2-307 0,1-2-293 16</inkml:trace>
  <inkml:trace contextRef="#ctx0" brushRef="#br0" timeOffset="195110.08">23515 8965 165 0,'-17'7'120'0,"6"2"24"16,-2 0-44-16,3 4 4 0,-1 2-47 0,1 2 2 15,3 4 22-15,0 0 14 0,3 3-40 0,-1 4 16 16,3 3-31-16,-1 5 41 0,1 1-10 0,0 8-12 16,2 0-11-16,0 3-2 0,-1-1 0 0,1 2 17 15,0 1-39-15,0-2 29 0,0 3-24 0,0-2 6 16,1 1 18-16,-1 0-1 0,0-1 22 0,2 1-37 0,-1-3 15 15,0 1-34-15,-1-2 33 0,4-1 2 16,-3-1 17-16,3-7-31 0,-3-1 14 0,3 0-28 16,1-2 15-16,-1 0-20 0,1-2 20 0,-1-2-21 0,2-6-2 15,-2-1-2-15,1-1 0 0,-1-2 13 0,3-3 73 16,-2-3-13-16,2-1-10 0,2-1-10 0,2-3-7 16,1 0-11-16,2-3-41 0,4-1-37 15,-1-3-55-15,1 0-75 0,1-1-44 0,0-1-170 0,0-1-268 16,-1-1-148-16</inkml:trace>
  <inkml:trace contextRef="#ctx0" brushRef="#br0" timeOffset="-166135.25">27290 6720 38 0,'0'0'108'0,"0"0"-72"16,-1-7-99-16,1 7 22 0</inkml:trace>
  <inkml:trace contextRef="#ctx0" brushRef="#br0" timeOffset="-142888.14">20839 11143 82 0,'-8'11'372'15,"0"-3"-60"-15,3 2-61 0,-1-2-44 0,1 2-49 16,-3-1-25-16,4 1 1 0,-1-2-24 0,1 2-21 16,-1-2-31-16,2 1 48 0,2-1-44 0,-1-2 22 15,-1 1-54-15,3-7 29 0,0 11-44 0,0-11 35 16,3 11-37-16,-3-11 34 0,3 6-36 0,-3-6 31 16,6 7-40-16,-6-7 34 0,6 5-54 0,-6-5 5 15,0 0-63-15,9 2-2 0,-9-2-39 0,0 0-83 16,0 0-53-16,15-1-281 0,-15 1-39 0</inkml:trace>
  <inkml:trace contextRef="#ctx0" brushRef="#br0" timeOffset="-84986.95">20215 11025 292 0,'0'0'394'0,"0"0"-63"0,0 0-43 0,0 0-61 16,0 0-34-16,0-6-18 0,0 6-41 0,0-7 17 15,0 7-57-15,6-8 9 0,-6 8-47 0,4-11 35 16,1 5-48-16,-1-2 27 0,1 1-38 0,2-1 29 16,0-1-37-16,0 1 22 0,0-2-39 0,1 2 35 15,3-3-39-15,-2 3-3 0,3-3 3 0,1 3 2 16,-2-3 1-16,2 0-7 0,-1 2 1 0,0-1-2 0,4-2 3 16,-1 0-1-16,0 1-2 0,1-1 11 15,0-1-8-15,0 1 0 0,0 0 20 0,0-3-20 16,0 2-7-16,3-1 0 0,-3 0 9 0,4-3 26 0,-2 0-39 15,1-1 33-15,-1 0-37 0,-4 3 41 0,4-5-9 16,-4 1-4-16,3-2-5 0,-5 3-1 16,0 0-2-16,1-1 1 0,-2 0-6 0,2-4-28 15,-3 1 32-15,1 0 0 0,-1 1-1 0,-1 1 2 0,-2-2-2 16,1 1-2-16,1 0-7 0,-3 0 11 0,1 1-1 16,-1-1-3-16,2-2 3 0,-3 1 1 0,1 0-30 15,-2 0 34-15,3 1-31 0,-2-2 31 0,1 0-28 16,-2 0 3-16,1 1 7 0,-1-2 31 0,0 3-30 15,0-2 30-15,1 2-31 0,-2-1 30 0,0 3-3 16,-2 0-4-16,2 1 3 0,-2-2-11 0,0 2 6 16,1 0-4-16,-1 2-2 0,0-2-2 0,-1 2-1 15,0-2-1-15,1 1 2 0,1 0-6 0,-2 0-1 16,0 0 6-16,1 1-3 0,-1-1 2 0,0 2-4 16,0 0 5-16,0 0-4 0,0 0 1 0,0 0-1 15,-1 2 3-15,-2 0-2 0,3-1-2 0,-2 0 3 16,-1 1-2-16,-1 1 7 0,0-1-8 0,1 2 3 15,-2-1-2-15,1 3 2 0,-1-3-2 0,-2 1 1 16,-3 1-2-16,4-1 0 0,-3 2 1 0,0-1 1 16,-3 2-1-16,1-1-2 0,0 2-1 0,-3 0 0 15,3 0 6-15,-4 1-8 0,2 1 3 0,-4-1 2 16,4 1 1-16,-3 2 1 0,0 0-1 0,0 0-2 16,-1-1-3-16,-1 3 6 0,2-1-3 0,-2 2 1 0,2 0 1 15,-3 0 0-15,0 2 0 0,1-1-4 0,0 2 3 16,2-1 0-16,-2 0 0 0,1 2 1 15,-1-2-3-15,2 2 3 0,0 1-2 0,-1 0-1 16,1-1 0-16,0 2 1 0,0 0-1 0,1 0-1 0,-1 1 6 16,1 1-8-16,1-2 3 0,-1 3 4 0,1 0 0 15,-2 0-4-15,4 0 1 0,-1 0 4 0,-1 1-6 16,0 1 1-16,-2-1 3 0,2 3-2 16,0-2 0-16,0 0 2 0,0 1 0 0,-1 1 0 0,0-1 4 15,-1 1-3-15,1-1-2 0,1 1 0 0,-3 0 3 16,3 0-5-16,-2 0-6 0,-1 2-16 0,0-2 32 15,0 0-24-15,2 1 28 0,-1 1-27 0,-1-2 26 16,2 1-30-16,-2 0 31 0,3-1-27 0,-1 0 0 16,1 0 7-16,0 2 6 0,1-1 3 0,0-2-8 15,0 2-8-15,3 0 10 0,-1-2 3 0,0 2 1 16,2-1 29-16,-1 1-29 0,1-1 23 0,-1 1-29 16,0 2 26-16,-1-1-32 0,1 1 33 0,0-1-34 15,1 1 32-15,0 0-33 0,-1 0 30 0,2 1-27 0,-1 1 29 16,2-1-31-16,-5 0 27 0,4 1 2 15,1-2-3-15,-2 2-1 0,1-1-9 0,-1-1 7 16,0 1 1-16,2 0-6 0,-1-1 1 0,0 1 1 16,2 0-1-16,-3-2 1 0,4 0-3 0,-2 1-23 0,2 1 32 15,-1-2-34-15,0 2 33 0,1 0-27 0,-1-1 35 16,1 0-34-16,3 1 42 0,-2-1-35 16,0 1 0-16,1 0 5 0,-3-1 19 0,5 1-2 0,-2 0 0 15,1 0-8-15,0-1 2 0,1 2-3 0,0 0-4 16,1 2 1-16,0-2 21 0,0 2-24 15,1-1 18-15,-1 0-25 0,3 2 24 0,-1-1-26 0,0 2 27 16,0 0-28-16,1 0 28 0,2-1-27 0,-3-2 23 16,1-1-24-16,1 0 24 0,-2 0-24 0,2 0 25 15,1-1-20-15,-1-1 17 0,2 0-22 0,-3-2 27 16,2 2-17-16,-1 0 42 0,0-2-28 0,1 1 16 16,-1-2-24-16,3 0 19 0,-3-1-22 0,1 0 20 15,-1-1-25-15,1-2 22 0,-1 2-24 0,4-2 17 16,-3 1-15-16,1-1 20 0,-1-1-26 0,3-1 24 15,0 1-18-15,1-2 14 0,-2-2-21 0,5 3 26 16,-3-4-23-16,2 1 60 0,2-2-19 0,0-2 8 16,0 0-18-16,3 0 24 0,2-2-10 0,1-2 19 0,4-1-7 15,1-2 14-15,6-1-21 0,-1-2 2 0,-2 1-11 16,4-2 1-16,-3 0-16 0,1 0 7 16,0-1-14-16,-1 1 10 0,-2-1-19 0,1 3 15 15,-5-2-16-15,-1 1 16 0,-1 1-15 0,-1-1 10 0,-2 2-9 16,-1-1 9-16,-3 1-44 0,0 2-39 0,0-2-65 15,-4 3-33-15,1-1-93 0,-3-1-30 16,1 0-83-16,0 3-529 0,-3-5-470 0</inkml:trace>
  <inkml:trace contextRef="#ctx0" brushRef="#br0" timeOffset="-76979.17">19815 11154 283 0,'0'0'284'16,"0"0"-43"-16,0 0-22 0,0 0-14 0,0 0-23 15,0 0-50-15,0 0 26 0,0 0-45 0,0 0 17 0,0 0-55 16,0 0 14-16,0 0-46 0,0 0 19 15,0 0-50-15,0 0 34 0,0 0-51 0,0 0 31 16,0 0-39-16,6 4 31 0,-6-4-36 0,0 0 38 16,0 0 16-16,7 4 3 0,-7-4-36 0,6 2 33 0,-6-2-7 15,10 4 24-15,-10-4-40 0,14 4 36 0,-14-4-43 16,17 4 46-16,-7-2-41 0,2 0 41 16,2-1-25-16,-3 1 14 0,2 0-37 0,4 0 39 0,-1-2-37 15,2 2 34-15,1-2-38 0,1 0 11 0,1-2 38 16,-2 1-36-16,3-2 31 0,-1 2-43 15,0-1 32-15,4 0-33 0,-1-2 28 0,0 1-37 16,2-3 34-16,-1 2-35 0,0 0 29 0,2 0-30 0,-1-3 28 16,-1 3-24-16,1-1 27 0,1 0-39 0,-1-1 35 15,-1 1-35-15,4 1 42 0,-4-3-40 0,3 1 30 16,0 3-35-16,0-2 39 0,-1-1-35 0,1 1 36 16,3-1-23-16,-5 2 29 0,2-2-21 0,4 1 29 15,-5 0-29-15,1-1 24 0,2 0-25 0,-3 1 21 16,1-1-23-16,-2 0 27 0,0 1-26 0,1-1 36 15,4-1-24-15,-3 0 21 0,3-1-26 0,-2 1 11 16,1 0-16-16,-1-1 26 0,2 1-25 0,-2-2 16 16,3 2-21-16,-4-2 18 0,4 1-16 0,-2 1 19 15,0-3-25-15,0 3 26 0,-1-3-23 0,0 2 21 0,1-2-26 16,-1 2 20-16,-1-3-16 0,-1 3 20 16,0-3-19-16,-1 3 20 0,-2-2-17 0,-1 2 16 15,1-1-25-15,0 0 8 0,1-3 0 0,-5 3-2 0,3 0 5 16,1 0-4-16,-2 0 13 0,0-1-13 0,2-2 5 15,2 1-4-15,-2 1 8 0,-1-1 3 16,-1 2 12-16,1-2-6 0,-3 2-6 0,2-2 6 16,-2 3 10-16,0-3-9 0,1 3 13 0,-2-3-18 0,-2 1 9 15,1-1-17-15,-1 1 15 0,-1 0-16 0,0 0 11 16,-1 1-15-16,-2 0 14 0,-1-1-16 0,1 0 10 16,-1 0 2-16,-1-2-4 0,1 2-3 0,2-4 3 15,-3 1-2-15,1 0-6 0,-2 1 3 0,0-3 5 16,-1 2 4-16,3-3 3 0,-3 4-4 0,0-5 3 15,-2 2-4-15,1 1 1 0,0-1-1 0,-1 0-3 16,-2-2 0-16,3 1-1 0,-2 1-4 0,-2-1 5 16,0-1-4-16,1 0-5 0,-1 0 5 0,-3 1-9 15,4-3 14-15,-3 1-13 0,-1 0 11 0,-1 0-9 16,0 0 13-16,0 0-10 0,-1 0-2 0,-1 0 33 16,-3 0 7-16,2 0-15 0,-1 1 7 0,-2 0-17 15,1-2 9-15,-2 0-16 0,-3 2 8 0,1-1-12 16,-2 1 7-16,1 0-10 0,-1 0 10 0,0 2-10 15,-1-1 11-15,0 1-3 0,-2 0-1 0,1 1-1 16,-1-2-4-16,1 2 3 0,1 1-3 0,-4-2 2 16,1 1-3-16,0 1 1 0,-1-1 1 0,-2 1-4 15,2 0 1-15,-2 1 0 0,-1 0 1 0,-1 0-1 16,0 1-2-16,-2-1 1 0,-1 1 1 0,-2-1 0 0,-1 2-2 16,1 0 4-16,-1 1-5 0,1 0 4 0,0 1-2 15,1 0 0-15,-3 1 5 0,3 0-7 0,-3 1 4 16,3 0-2-16,-2 0 2 0,1 1-1 0,-2 0-2 15,1 1 5-15,2-2-4 0,0 2 0 0,-1 1 2 16,1-1-22-16,1 0-7 0,-2 0 7 0,5 2-2 16,-1 0 5-16,-2 0-1 0,2 0 0 0,-1 0 3 15,1-1 0-15,0 1 3 0,-2 0 0 0,2 0 1 16,1 1-5-16,-4 0 6 0,2 1 4 0,1-1-1 16,0 1-3-16,-2-2-3 0,3 2 0 0,-1 0 0 15,0 2 5-15,0-2-3 0,2 1 5 0,-3-1 0 16,2 2 2-16,1-1-1 0,-2 0-2 0,0 2 3 15,1 0-2-15,0 0 3 0,-4-1-4 0,1 2 1 16,1 1-1-16,-2 0 2 0,1-1-5 0,-2 0 2 16,2 1 0-16,0 1 3 0,0-1 0 0,-2-2 1 15,3 4 1-15,-1-2-1 0,0 0-2 0,0 0 5 16,2 1 1-16,2-2-2 0,1-1 0 0,1 1 1 16,-3 1-5-16,4-1 6 0,-2 1-2 0,1-1-1 15,-2 1-2-15,1-1 0 0,2 1-1 0,-2-1 0 16,1 1 0-16,-1-1 1 0,0 1 5 0,0-1-5 0,2-1-3 15,-2 2 5-15,0 0-5 0,1-2 3 0,0 1-1 16,0 1 2-16,0 0 1 0,1-2-2 0,-2 1-1 16,2 1-1-16,-1 1 0 0,0-3 1 0,2 2 2 15,-3 0-1-15,4 1 0 0,-3 0-1 0,2-2 0 16,-1 4 1-16,4-2-1 0,-5 0 4 16,4 2-1-16,0-2 2 0,-2 2-21 0,2 0 23 0,-1-1-19 15,0 2 24-15,0-2-19 0,1 1 19 0,-2 2-18 16,2-3 21-16,0 2-19 0,-2 0 22 15,2 0-21-15,-1-1 4 0,0 1-2 0,0 0 1 0,0 0 6 16,-1 0 0-16,-1 2-5 0,1-3 2 0,4 2 0 16,-2-2 1-16,-1 2 0 0,1-1-2 0,0 1 5 15,3 0-5-15,-2 0-1 0,2 1 21 0,1 1-25 16,0 1 25-16,-1 1-27 0,2 0 27 0,2 1-23 16,0 1 22-16,-2 0-25 0,3 3 20 0,0 1-19 15,0 0 22-15,-1 1-21 0,3-1 2 0,-2 1-2 16,2 3 22-16,-1 1-23 0,2-1 23 0,-1 1-20 15,1 2-3-15,-1-2 6 0,-1 1 21 0,1 1-24 16,2-1 1-16,-4 0 3 0,4 1 8 0,-3-1 0 16,4 0 18-16,-2-1 8 0,0 1 5 0,2-2-2 0,-1 0-9 15,1 0-3-15,0-2 0 0,1-2 1 0,1 3-2 16,0 0 11-16,-2-4-22 0,3 5 14 0,-1-7-19 16,3 2 15-16,-5-2-15 0,4 0 13 0,0-1-17 15,-1 1 16-15,-1-2-16 0,1 1 11 0,-1-4-14 16,1 2 19-16,-2-2-18 0,2-2 17 15,0 1-16-15,-1 0 8 0,-1 0-94 0,0-3-45 0,0 2-108 16,1-3-44-16,0 1-112 0,-2-8-440 0,3 10-374 16</inkml:trace>
  <inkml:trace contextRef="#ctx0" brushRef="#br0" timeOffset="-75887.5">18377 9115 93 0,'-2'-4'278'16,"-1"-3"-58"-16,-2 3-20 0,1-1-33 0,-1 0-32 15,0-1 2-15,-2 0-21 0,2 2-14 0,-3-3-17 16,1 1 10-16,1 2-1 0,-1-1-13 0,-2-1 4 16,4 1-6-16,-2 0-13 0,0-1-6 0,1 1-8 15,-2 2 4-15,0-1-13 0,8 4 3 0,-11-7-30 16,2 4 23-16,9 3-35 0,-13-3 25 0,13 3-26 16,-15-1 18-16,15 1-32 0,-15 1 31 0,6 0-30 15,-3 3 29-15,3-2-33 0,-1 3 35 0,-1 0-38 16,-1 2 31-16,0 2-29 0,-2-1 5 0,0 5 3 15,-1 0 2-15,0 0 3 0,-2 3 25 0,0 2-33 16,0 2 29-16,-4 1-28 0,3 2 60 0,-1 0-44 16,1 3 39-16,0-1-35 0,-2 3 27 0,2 2-33 15,-1-2 38-15,3 4-34 0,-2-4 30 0,4 5-40 0,0-5 35 16,3-1-37-16,-2 2 34 0,4-2-32 0,0 4 42 16,2-4-22-16,3-1 6 0,1 0 0 0,1-1-7 15,-1 0 3-15,4 1-9 0,3-1 6 0,-1 0-10 16,4-1 2-16,0 1-2 0,2 0 0 0,1-1 4 15,5-1 3-15,-2-2 24 0,6-1 25 0,-1-2-31 16,0-1 17-16,4-2-31 0,1 0 36 0,1-4-19 16,2-1 21-16,-2-2-12 0,3-3 16 0,-2 0-25 15,5-1 8-15,-2-3-16 0,2-2 11 0,4-3-11 16,0-2 11-16,1-1-13 0,3-3 18 0,2-2-1 16,-2-1 1-16,-4-1 4 0,2-1 6 0,-4-3 3 15,0 0 1-15,-1-2-2 0,-2 0 10 0,-1-3 23 16,-1 0-15-16,-4-1 10 0,0-2-10 0,-1-2-11 15,-3-2-13-15,-4-1 1 0,1-2 11 16,-5 4-13-16,-4-2-4 0,-2-1-15 0,-4 0 0 0,-1 3-5 16,-1-5 1-16,-4 1 0 0,-2 1-5 0,-2 2 3 0,-3 0-8 15,0 4-1-15,-3 1-1 0,-2 0-4 16,1 3 4-16,-1 3-10 0,-4 1-1 0,1 1-41 0,3 5-43 16,-3 1-37-16,1 3-59 0,-2-1-40 15,2 4-64-15,4 2-58 0,-2 2-47 0,3 0-30 0,0 2-86 16,4 0-281-16,1 2-303 0</inkml:trace>
</inkml:ink>
</file>

<file path=ppt/ink/ink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0-16T04:45:00.881"/>
    </inkml:context>
    <inkml:brush xml:id="br0">
      <inkml:brushProperty name="width" value="0.05292" units="cm"/>
      <inkml:brushProperty name="height" value="0.05292" units="cm"/>
      <inkml:brushProperty name="color" value="#FF0000"/>
    </inkml:brush>
  </inkml:definitions>
  <inkml:trace contextRef="#ctx0" brushRef="#br0">22105 9934 352 0,'3'-12'345'0,"1"1"-27"0,-2 1 2 15,1 1-77-15,-1-1-49 0,1 1-16 0,-2 0-12 16,2 0 4-16,0 1-12 0,-1 1-18 0,0 0-22 16,-2 1-19-16,0 6 7 0,3-13-9 15,-3 13-24-15,2-8-15 0,-2 8-15 0,0-9-11 0,0 9-11 16,0 0-1-16,-9-2-8 0,9 2 1 0,-17 6-4 15,4 1-1-15,-4 0-18 0,-1 5 24 0,0 0-18 16,-3 4 16-16,0 2-1 0,1 1 5 0,-1 0 2 16,2 4 5-16,-3 3-5 0,3 3-13 0,5-4 14 15,0 2 9-15,3 0 11 0,2 0-19 0,0 2 12 16,5-4-16-16,0 0 36 0,5 1-13 0,3 1 16 16,0 2-12-16,6 0 2 0,4 0 20 0,4 0-6 15,1 0-7-15,4-1-7 0,4-2 3 0,0-3-10 16,4-1 25-16,1-3-2 0,2-1 3 0,5-4-5 15,1-2 2-15,1-3-8 0,2-2-2 0,-3-4 7 16,1-1-3-16,-1-4-7 0,7-4-11 0,-1-1 0 16,-1-4-4-16,-3 0 2 0,-2-6-6 0,-1-2-3 15,-6-3 0-15,-2-3-2 0,-3-3-7 0,-5-1 1 16,-2-2 2-16,-5 0 1 0,-8 1-1 0,-4-2 5 16,-5 4-15-16,-6-5 9 0,-4-4-12 0,-7 2 5 15,-5 1 0-15,-3 4-9 0,-3-1 4 0,-2 2-5 16,-1 3 6-16,0 1-7 0,-2 4 7 0,-1 0-50 15,-1 3-39-15,1 3-64 0,-4 1-32 0,6 4-54 16,1 5-34-16,-5 0-56 0,3 3-74 0,0 2-74 0,-3 1-470 16,-1 2-516-16</inkml:trace>
  <inkml:trace contextRef="#ctx0" brushRef="#br0" timeOffset="709.19">20274 9813 67 0,'0'0'304'0,"-3"-7"-122"0,3 7 4 16,-11-4-29-16,-1 5 33 0,-2 3-44 0,-1 2-30 15,-6 5 17-15,-3 3-6 0,-5 6 28 0,1 4-11 16,0 2-28-16,1 3 6 0,2 2 24 0,4 2-26 16,2 1-25-16,4 2-22 0,8-5 13 0,2 0-4 15,8 2-20-15,2-1 11 0,8 4-21 0,6-1 5 16,6-1-9-16,-1-2-2 0,7-2-3 0,2-2 1 16,5-1-5-16,-1-1-2 0,4-5 2 0,1-2-4 15,3-1-3-15,-1-3-3 0,2-5 0 0,0 0 12 16,2-5 11-16,-7-4 9 0,1-3 28 0,3-3-10 15,-2-7-13-15,0-3-6 0,-5-5-7 0,-3-4-4 16,-4-5-9-16,-1-5-8 0,-6-3-8 0,-1-2-3 16,-6-3 19-16,-2 0 16 0,-5-1 18 0,-3 0-16 0,-6 6 2 15,-2 0-22-15,-6-5 2 0,-3 4-7 0,-8-1-9 16,-1 5-3-16,-5 1-4 0,-3 2-4 16,-4 4 0-16,1 2 1 0,-2 3-5 0,-2 5-10 15,6 5-78-15,-2 2-48 0,-4 3-48 0,6 2-32 0,-2 5-57 16,-4 2-76-16,-2 4-72 0,3 3-524 0,-9 4-511 15</inkml:trace>
</inkml:ink>
</file>

<file path=ppt/ink/ink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0-16T04:22:16.527"/>
    </inkml:context>
    <inkml:brush xml:id="br0">
      <inkml:brushProperty name="width" value="0.05292" units="cm"/>
      <inkml:brushProperty name="height" value="0.05292" units="cm"/>
      <inkml:brushProperty name="color" value="#FF0000"/>
    </inkml:brush>
  </inkml:definitions>
  <inkml:trace contextRef="#ctx0" brushRef="#br0">7927 5877 138 0,'-1'-7'285'0,"1"7"-56"15,-3-10-34-15,3 10-29 0,0-10-19 0,0 10-19 16,0-9-27-16,0 9-16 0,1-10 6 0,-1 10-15 15,3-11 0-15,-3 11-13 0,5-10-1 0,-5 10 1 16,5-10-23-16,-5 10 3 0,4-7-9 0,-4 7-7 16,4-7-12-16,-4 7-3 0,0 0-4 0,4-7-8 0,-4 7 3 15,0 0 0-15,0 0-3 0,0 0 0 0,0 0 3 16,7 7-7-16,-7-7 4 0,3 13 9 0,1-3 13 16,-4 0 2-16,1 3 22 0,-1 2-33 0,-1 3 42 15,-3 1-29-15,3 5 26 0,-2 0-30 16,-2 1 17-16,2 2-27 0,1-1 17 0,-2 2-23 0,1-2 5 15,1 2-22-15,1-3 14 0,-2 1-3 0,2-1-3 16,-3-1-28-16,4 1-16 0,-1-5-13 0,1-1-44 16,0 0-16-16,0-1-27 0,0-1-42 0,1-4-76 15,-1 0-201-15,1-3 52 0</inkml:trace>
  <inkml:trace contextRef="#ctx0" brushRef="#br0" timeOffset="723.22">7940 5852 98 0,'-3'-5'244'0,"3"5"-60"16,-2-11-44-16,2 11-32 0,3-11-14 0,4 5-10 0,2 0-7 15,3-3-7-15,4 2-10 0,6 1-8 0,4-4-11 16,5 1-2-16,2 1-9 0,3 0 2 0,5-2-4 16,2 2-3-16,1-1-10 0,2 2 8 15,-3 0-9-15,5-1 3 0,-2 3-8 0,2-3 1 0,-3 2-3 16,2-1 2-16,-2 1-7 0,2 0 4 0,-3 0-11 16,-2 0 10-16,-4 0-5 0,-2 1 3 0,0 1-4 15,-4-2 2-15,-3 2-4 0,-3-1 8 0,-1 2-8 16,-3-3 3-16,-3 4 2 0,-1-1 15 0,-1 0-3 15,-3 2 4-15,-4-1-9 0,2 1 2 0,-1-1-2 16,-11 2 5-16,14-2 0 0,-14 2-1 0,15-3 5 16,-15 3-2-16,12-1-2 0,-12 1-5 0,10-1-4 15,-10 1-3-15,0 0-2 0,13 1 7 0,-13-1 4 16,8 4 1-16,-8-4 1 0,9 6-3 0,-9-6-1 16,7 7-2-16,-2-2 4 0,0 2-5 0,2-1-1 15,-2 4-7-15,0-2 7 0,4 3 0 0,-3 1-1 16,1 0 6-16,1 2-8 0,-1 0 3 0,1 1-4 15,-2 3 2-15,3 0 2 0,-4 0 1 0,3-1-27 16,-4 0 33-16,1 1-15 0,-3-1 18 0,1 1-32 0,0 0 39 16,-2-2-34-16,0 2 32 0,-1-2-37 0,-1 1 29 15,1-2-27-15,-3 1 34 0,2-2-31 0,-3 1 31 16,2-2-27-16,-2 0 42 0,0-1-34 0,-1-2 28 16,0 1-29-16,0-3 33 0,-1 3-27 0,1-4 38 15,0 2-34-15,-2-2 28 0,0 0-33 0,1 1 30 16,-3-2-31-16,0 2 26 0,-1-1-31 15,1-3 28-15,-4 3-4 0,3 0-7 0,-2-3-1 0,1 3-4 16,-1-2 0-16,-2 0-1 0,0 0-11 0,-1 0 0 16,-2 1 12-16,2-2-4 0,-4 2-3 0,-4-1 1 15,0 1 3-15,-2 0-4 0,-3-1-2 0,-4 1 9 16,0 1 1-16,-2 0 17 0,-2-2-4 0,2 2 2 16,-2-1-29-16,1-1 19 0,-2 0-18 0,1 1 17 15,1 0-1-15,0-1-2 0,-1 1 4 0,3 0-12 16,0-1 1-16,5 0-1 0,1-2 3 0,0 1-5 15,5 1 11-15,1-3-8 0,3 0-13 0,1 1-50 16,3-2-50-16,1 2-65 0,3-2-37 0,-1 1-51 16,11-2-251-16,-16 4-9 0</inkml:trace>
  <inkml:trace contextRef="#ctx0" brushRef="#br0" timeOffset="1701.3">7849 6565 227 0,'0'0'284'0,"0"0"-54"16,-3-4-29-16,3 4-16 0,0 0-30 0,0 0-34 15,0 0-32-15,-1-7-22 0,1 7-16 0,0 0-13 16,0 0-11-16,0 0 10 0,0 7 16 0,0-7 11 16,4 10-14-16,-4-3-8 0,3 1-11 0,-2 2-6 15,0 1-29-15,2 0 28 0,-2 2-28 0,2 0 28 16,-1 1-29-16,-1 3 33 0,2-2-28 0,-2 1 27 16,2 1-29-16,-1 0 27 0,-1 0-27 0,1 0 33 15,-1-1-30-15,0 0 31 0,1 0-29 0,-2-2 33 16,1-1-77-16,-1 0-13 0,1-1-73 0,-1-1-9 15,2 0-56-15,-2-3-57 0,1-1-191 0,-1-7 89 0</inkml:trace>
  <inkml:trace contextRef="#ctx0" brushRef="#br0" timeOffset="2781.94">7791 6554 63 0,'0'0'255'0,"-1"-8"-72"15,1 8-38-15,0-8-21 0,3 4-22 0,-3 4-11 16,6-10-13-16,1 4-18 0,1 0-8 0,1 1-16 16,3-2-2-16,2 0-9 0,3 0-5 0,2 0-1 15,1 0-6-15,1 0-5 0,2 0 2 0,0 1-1 16,2-3-1-16,5 2 0 0,-6 1-7 0,4-2 2 15,2 0 0-15,0 1 0 0,-3 0 0 0,4 0 2 16,-6 0-3-16,2 0 0 0,0 3-2 0,-2-3 4 16,1 0-7-16,0 3 6 0,-1-2-5 0,1 1 3 0,-1 0-2 15,-3 2 3-15,4-2-4 0,-3 1 4 16,-3 1-2-16,-1 0 4 0,2 1-7 0,-2-1 4 16,-1 1 0-16,-1-1-1 0,2 1-1 0,-3 0 2 0,1 1 2 15,-1 0-2-15,0-1-5 0,-1 1 2 16,-1-1 1-16,0 2-2 0,0-2 3 0,1 1 3 0,0 1-4 15,-2-1 0-15,2 0-1 0,0-1-2 16,-2 0 1-16,2 1 2 0,-1 0-2 0,-1 0 0 0,2 0-1 16,-1-1-3-16,2 1-3 0,-3 0-6 0,2 0 2 15,-2-1 1-15,0 2-4 0,0-2 3 16,1 1 4-16,-1 0 2 0,0 0-3 0,0-1 2 0,-2 1 5 16,3 0-4-16,-3 0 0 0,0-2 8 0,-1 2-2 15,0 0 0-15,0-2 0 0,0 2 1 0,-10 1-1 16,15-2-2-16,-15 2 4 0,18-4-2 0,-18 4 1 15,14-3-2-15,-14 3 5 0,18-2-2 0,-18 2-3 16,17-5 1-16,-17 5 0 0,15-1 4 0,-15 1-7 16,15-2 7-16,-15 2-5 0,15-1 0 0,-15 1-1 15,12 0 5-15,-12 0-3 0,13 0 0 0,-13 0-2 16,0 0 3-16,13 1-2 0,-13-1-1 0,0 0 2 16,11 1 1-16,-11-1 2 0,0 0-1 0,10 2-3 15,-10-2 1-15,0 0 2 0,7 3-2 0,-7-3 5 16,0 0 5-16,6 5 20 0,-6-5 6 0,4 6-3 0,-4-6-12 15,0 0-3-15,5 7-3 0,-5-7-3 16,3 10 4-16,-3-10-6 0,2 9 1 0,-2-9-1 16,0 13 1-16,0-6-1 0,0 0-1 0,0 0 1 0,0 1 0 15,0 2-3-15,0-3-1 0,0 4 0 0,0-1-1 16,1 0 2-16,1 0 2 0,-2 0-4 16,0 3 3-16,1-2-2 0,0 2-4 0,-1-1 2 0,0 0 0 15,0 1 3-15,0 0 1 0,-1 0-3 0,1 2 2 16,-4 0 1-16,4 1-31 0,-2-2 36 0,-1 0-36 15,3 0 40-15,-1 0-36 0,0-2 38 16,-2 2-34-16,3-1 29 0,-1-1-30 0,-2 0 36 0,3 1-34 16,-1-2 0-16,-2 0 5 0,3-1 7 0,-2 1-2 15,0 0 3-15,1-1 6 0,0 0 26 0,-2 0-36 16,1-1 35-16,-2 0-40 0,0 0 35 0,2 0-35 16,-1-1 35-16,-1 0-38 0,-1 0 36 0,1 1-35 15,0-3 34-15,-1 0-35 0,1 1 36 0,1 0-34 16,-1-1 33-16,-1 0-36 0,1 0 36 0,-1 1-40 15,-2-2 41-15,4 1-38 0,-4 0 38 0,3 0-37 0,-2-1 36 16,-3 1-38-16,4 0 38 0,-3-1-38 16,-1 0 39-16,3 1-33 0,-4-1 30 0,-1 0 1 15,1 0-37-15,-4 1 38 0,1-2-7 0,-1 0 3 16,0 1-5-16,-2 0-3 0,-1-1-1 0,-1-1-1 0,0 1-2 16,-1-2-2-16,-1 1 3 0,0 0 5 15,-1 0-2-15,-5-1 2 0,3 0-1 0,1 0 3 16,-3 0-8-16,-1-1 8 0,1 0-4 0,-1 0-1 0,-2-1-2 15,4 2 0-15,1-1-31 0,-2-1 34 0,1 0-32 16,1 0 42-16,-1 0-35 0,0 0 37 16,1 0-34-16,-3 0 35 0,4-1-9 0,-1 1 5 0,-2 1-5 15,2-1-4-15,0 0 1 0,0 1-6 0,0-1-32 16,1 2-11-16,0-1-17 0,3 0-30 0,0 0-36 16,1 0-71-16,3 0-182 0,1 1 168 0</inkml:trace>
  <inkml:trace contextRef="#ctx0" brushRef="#br0" timeOffset="3803.87">8078 6907 30 0,'0'0'360'15,"-5"-4"-107"-15,5 4-12 0,0 0-49 0,-7-4 3 16,7 4-73-16,0 0-1 0,0 0-58 0,-6-3 13 16,6 3-48-16,0 0 23 0,0 0-43 0,-3 7 38 15,3-7-32-15,0 10 29 0,0-10-31 0,0 13 32 16,0-6-29-16,0 0 17 0,0 2-33 0,0-1 31 16,0-1-7-16,0 1-5 0,0 0-2 0,0-1 1 15,0 2 16-15,0-2-4 0,0 0-34 0,0-7 32 16,1 12-31-16,-1-12 29 0,2 11-24 0,-2-11 25 0,1 7-22 15,-1-7 30-15,3 8-30 0,-3-8 28 16,5 4-31-16,-5-4 25 0,9 4-30 0,-9-4 25 16,14 1-38-16,-14-1 37 0,15 0-24 0,-15 0 24 0,19 0-24 15,-7-1 19-15,1 1-26 0,-2-2 28 0,1 1-27 16,-1 0 20-16,2 0-32 0,1 0 27 0,-3-1-22 16,1 0 26-16,1-1-28 0,-2 1 31 15,1 1-30-15,-2-1 31 0,-1 0-20 0,0 0 18 0,-9 2-25 16,15-2 26-16,-15 2-26 0,13-4 34 0,-13 4-15 15,10-4 31-15,-10 4-27 0,9-4 22 16,-9 4-29-16,5-6 30 0,-5 6-10 0,4-8 24 0,-4 8-4 16,3-9 2-16,-3 9-10 0,1-10 12 0,-1 10 7 15,-1-9-11-15,-2 2-9 0,3 0-3 0,0 7-4 16,-2-12-7-16,-1 6-3 0,3 6 3 0,-1-10-42 16,1 10 41-16,-3-10-11 0,3 10-38 0,0-9-61 15,0 9-64-15,-1-6-12 0,1 6-41 0,0 0-17 16,0 0-408-16,0 0-144 0</inkml:trace>
  <inkml:trace contextRef="#ctx0" brushRef="#br0" timeOffset="4255.85">8699 6884 351 0,'0'0'234'16,"0"0"-21"-16,0 0-79 0,9 4 3 0,-9-4-55 16,4 4 8-16,-4-4-50 0,2 7 27 0,-2-7-37 15,3 10 49-15,-2-3-27 0,-1-7 3 0,1 13-37 16,1-6 31-16,-1 0-40 0,-1 0 30 0,1 0-7 15,1-1-5-15,-2-6-10 0,2 12-1 0,-2-12 0 16,1 11-2-16,-1-11-3 0,4 10 3 0,-4-10 18 16,4 7-12-16,-4-7 27 0,5 4-34 0,-5-4 30 15,9 6-37-15,-9-6 30 0,15 1-30 0,-15-1 29 16,13-1-31-16,-13 1 30 0,19-3-31 0,-8-1 27 16,-1 2-20-16,1-2 35 0,1 1-12 0,-2-1 20 0,3-1-31 15,-2 1 28-15,2-1-13 0,-4 1 38 0,0-1 8 16,0 0 7-16,1 2 3 0,-2 1 2 15,-8 2-8-15,10-6 18 0,-2 3-32 0,-8 3 0 0,6-6-29 16,-6 6 6-16,6-5-24 0,-6 5 7 0,3-7-27 16,-3 7 17-16,0 0-3 0,-3-8-39 15,3 8-64-15,-6-4-84 0,6 4-77 0,-9 0-185 0,9 0-339 16,-14 1-282-16</inkml:trace>
  <inkml:trace contextRef="#ctx0" brushRef="#br0" timeOffset="21406.49">12661 4226 17 0,'-4'-5'302'0,"4"5"-68"0,-8-9-52 15,8 9-15-15,-10-9-28 0,4 6-10 16,-2-1-34-16,-1 3-8 0,9 1-25 0,-22 1-2 0,7 3-21 16,1-1 10-16,-5 6-4 0,1 2 7 0,-1 2-28 15,-3 3 16-15,4 2-12 0,-1 1 1 0,1 1-7 16,1 2-4-16,3-1-1 0,2 2-20 0,1-3 25 15,2 1-4-15,3-1-3 0,1 2 0 0,1 0-4 16,3-6 2-16,1 2-2 0,1 0-4 0,4-1 12 16,3-1-4-16,1-1-6 0,1 1 7 0,5-3 3 15,-2-1-6-15,5-1 4 0,-1-4-13 0,0 0-39 16,0-2-28-16,2-3-29 0,0 0-17 0,1-2-21 16,1-3-18-16,1 0-45 0,0-3-215 0,1-3 129 15</inkml:trace>
  <inkml:trace contextRef="#ctx0" brushRef="#br0" timeOffset="21733.64">12859 4348 46 0,'-4'-9'255'15,"3"2"-62"-15,-2 1-23 0,2 0-42 0,1 6-27 16,-8-9-22-16,8 9-20 0,-9-4-13 0,9 4-6 16,-14 2-11-16,5 3 8 0,-1 2-8 0,-3 2 0 15,4 2-9-15,-2 0 2 0,-1 5 0 0,2-2 2 0,5 1 3 16,-1 0-5-16,2 1-7 0,3-2 3 15,1 0 29-15,1 1-8 0,1-1-3 0,5 1-4 0,-1-2-7 16,0-1 0-16,3 0-7 0,3-2 4 0,1-1 3 16,1-1 0-16,0-2-2 0,1-1-1 0,-1-2-5 15,3-1 1-15,-3-2-3 0,0 0 5 0,1-2-7 16,-2-2 1-16,4 0 15 0,-5-2 6 0,1-2-28 16,-1-1 23-16,-3-1-5 0,1-2-5 0,-4 0-5 15,-2 0-3-15,1-1-4 0,-3 1-3 0,-2 0-18 16,0 0 14-16,-2 1-11 0,0 0 10 0,-2 1-10 15,-1 0 12-15,-2 3-14 0,1-1 18 0,0 2-21 16,-2 2-26-16,0-1-36 0,8 5-24 0,-14-4-29 16,14 4-33-16,-10-2-30 0,10 2-213 0,0 0 136 15</inkml:trace>
  <inkml:trace contextRef="#ctx0" brushRef="#br0" timeOffset="22336.94">13277 4116 80 0,'0'0'166'0,"-7"-6"-40"0,7 6-31 16,-7-3-23-16,7 3-16 0,0 0-8 0,-17 0-9 16,17 0-7-16,-14 7 1 0,4 1-12 0,2-1 5 15,-1 3-6-15,3 0 4 0,-2 3-5 0,4-1 0 16,2 1 4-16,0 0-7 0,4 0 0 0,-1 1-4 15,4 2 7-15,-1 0 7 0,6 0 15 0,-1 1 25 16,0 0-1-16,5-1-13 0,-2 1-13 0,2-3-9 16,-3 1 1-16,2 0-5 0,2-2 2 0,-4 1-12 15,0-2-1-15,-3-1-5 0,-2 1 1 0,1-2 1 16,-2-2 46-16,-2 2 10 0,-1-1-9 0,-2-1-7 16,-2 0-4-16,-4 0-10 0,2-1-4 0,-5-3-1 15,3 1-8-15,-4-2 0 0,-1-2-7 0,11-1-5 16,-20-1-17-16,10-3 22 0,-2-2-24 0,-1-1 21 15,3-3-11-15,1 0-4 0,-1-1-11 0,4-3-1 16,-1 3-10-16,2-2 15 0,1 1-11 0,-2 3 12 0,3-1-17 16,2 1 17-16,-3 1-22 0,3 2 8 0,1 6-5 15,-4-8 7-15,4 8-12 0,0 0 18 16,0 0-3-16,0 0 11 0,-2 8 12 0,0-2 0 0,0 4 6 16,-1 1 1-16,1 1 6 0,-2 2-7 0,0 1 2 15,0 0 0-15,0 2-1 0,0 0 1 0,2-1-5 16,-2 1 6-16,1 0-32 0,1-1-25 0,1-1-35 15,-2 0-39-15,3-2-32 0,0-1-18 0,1-2-42 16,3-1-135-16,-1-2 201 0</inkml:trace>
  <inkml:trace contextRef="#ctx0" brushRef="#br0" timeOffset="22808.94">13700 4098 9 0,'0'0'239'0,"-3"-11"-47"0,3 11-48 0,-9-6-24 16,9 6-22-16,-11 0-6 0,2 3-18 16,-3 1 6-16,1 3-12 0,-2 3-13 0,-2 1-10 15,-1 2-3-15,1 1-14 0,2 1 0 0,2 1-10 0,-1 0 3 16,4 0-8-16,2-1 3 0,1 0 1 0,3-2 7 15,0 0 3-15,4 0-1 0,0-2 5 0,3 1 6 16,1-1 0-16,2 0-2 0,1-1 4 16,3-2 1-16,-1-2-4 0,-2 0 1 0,4-3-9 0,-3 1 3 15,-1-1 6-15,4-3-8 0,-13 0-6 0,18-3 2 16,-9-2-1-16,0 1-24 0,-3-3 8 0,0-2-12 16,1 0 12-16,-4-3-17 0,1 1 71 0,0 1-10 15,-1-1 36-15,-2 2 0 0,2 0 0 0,-2 1-10 16,-1 1-17-16,3 2-23 0,-3 5-11 0,1-7-9 15,-1 7-7-15,0 0 4 0,0 0-3 0,0 7-2 16,0-7-5-16,-1 14 8 0,-1-7-3 0,2 4-4 16,2 0 3-16,-2 2 4 0,1 0-13 0,1 2 13 15,1 1-11-15,2 0 7 0,-3 1-1 0,2 0 4 16,0-1-3-16,0 2 11 0,1-1-10 0,0-1-14 16,2 0-51-16,-2-1 15 0,1-2-40 0,1 1-20 15,-1-3-20-15,4-1-26 0,-1-4-33 0,0 0-28 16,1-3-46-16,2-2-241 0,-1-4 18 0</inkml:trace>
  <inkml:trace contextRef="#ctx0" brushRef="#br0" timeOffset="23094.08">14083 4177 249 0,'0'0'284'0,"-1"-7"-60"0,1 7-10 16,0 0-22-16,-9 5-27 0,5 1-37 0,-1-2 2 15,-1 4-39-15,2 0-3 0,1 2-30 16,-2-1 34-16,4 1 14 0,1 1-11 0,0 0-23 15,1-1-10-15,2 1-2 0,2-2-7 0,2 4 0 0,0-3-9 16,0-1 1-16,4 0-11 0,-1-2-3 0,0-1-5 16,-1 0-1-16,1-2 0 0,-1-1 11 15,0-1 10-15,-9-2 6 0,17 1 5 0,-17-1-9 0,10-6-11 16,-10 6-5-16,8-10-6 0,-7 4-4 0,-1-4-6 16,-3-1-6-16,1 0-12 0,-5-2 5 0,1 1-2 15,-3-1-32-15,-5-1 40 0,1 3-31 0,-2-1 36 16,2 2-38-16,0 2 39 0,1 1-24 0,0-1-35 15,-1 2-61-15,3 2-54 0,0-1-48 0,2 2-41 16,8 3-39-16,-11-5-36 0,11 5-182 0,-7-3 2 16</inkml:trace>
  <inkml:trace contextRef="#ctx0" brushRef="#br0" timeOffset="23299.48">14322 3807 365 0,'0'-7'431'16,"0"7"-77"-16,0-12-66 0,0 12-29 0,-1-11-35 15,1 11-43-15,0-9-25 0,0 9-36 0,-1-9-29 16,1 9-17-16,0-7-23 0,0 7-12 0,0 0-12 16,0-6 2-16,0 6-7 0,0 0-65 0,0 0-21 15,0 0-82-15,7 5-69 0,-7-5-84 0,4 8-311 0,-4-8-123 16</inkml:trace>
  <inkml:trace contextRef="#ctx0" brushRef="#br0" timeOffset="23490.48">14506 3968 430 0,'0'0'354'15,"10"-5"-95"-15,-1 1-40 0,2-1-71 0,0-1-12 16,4 0-40-16,1 1-2 0,-1-2-37 0,2 2-59 0,-1 0-79 16,1 2-88-16,-1-1-315 0,2 1 28 0</inkml:trace>
  <inkml:trace contextRef="#ctx0" brushRef="#br0" timeOffset="23642.14">14550 4181 90 0,'-11'7'454'0,"5"-2"-123"0,-1-2-37 0,7-3-62 16,-8 4-78-16,8-4-6 0,0 0-29 0,0 0-1 16,8-6-46-16,0 1 3 0,3 1-30 0,1 0 18 15,2-2-32-15,3 1-16 0,0-1-101 0,4 0-72 16,0 0-124-16,-1-1-254 0,3 0-42 0</inkml:trace>
  <inkml:trace contextRef="#ctx0" brushRef="#br0" timeOffset="25262.42">15420 3664 160 0,'0'0'260'16,"0"0"-64"-16,-3-5-39 0,3 5-30 0,0 0 3 16,-6-6-26-16,6 6-23 0,0 0-32 0,0 0-7 0,-8-3-15 15,8 3-5-15,-7 2-6 0,7-2-1 16,-11 9-3-16,1-3-1 0,1 2 22 0,0 2 2 16,-3 3-3-16,1 3-8 0,0 2-4 0,-2 1 6 15,3 5-7-15,-3 1 55 0,4 2-10 0,1-2 7 0,3-2-31 16,3 3 11-16,2-3-26 0,1-1 27 0,3 0-5 15,2 0 20-15,5-2-22 0,1-2 26 16,4 2-26-16,4-4 23 0,0 0-14 0,4-3-6 16,0-1-5-16,-1-4-5 0,2 0-1 0,-3-2-5 0,1-3-3 15,3-1 4-15,-5-2-10 0,1 0 5 0,0-2-3 16,-2 0 19-16,2-4-22 0,-3 0 31 0,0-3-1 16,-1 0-15-16,-3-3 0 0,-2-3 2 15,-1 1-6-15,-3-3 1 0,-4 0-12 0,-4-1-1 16,0-2-7-16,-2-2-10 0,-3 0 7 0,-2-1 4 0,-4-4-1 15,-1 1-5-15,-1 1 1 0,-4 1-1 16,1 0-7-16,-4 1-23 0,0 0 26 0,-2 1-22 0,2 3 30 16,0 1-37-16,0 1 33 0,2 4-29 15,0 2-45-15,1 3-54 0,-1 2-8 0,-1 4-74 0,-2 2-58 16,-2 4-105-16,-1 4-265 0,-6 5-141 0</inkml:trace>
  <inkml:trace contextRef="#ctx0" brushRef="#br0" timeOffset="27500.78">12465 5173 15 0,'0'-12'250'16,"0"12"-59"-16,1-9-16 0,-1 9-15 0,-1-11-23 15,1 11-26-15,-1-10-7 0,1 10 9 0,-3-7-17 16,3 7-23-16,-1-6-20 0,1 6-11 0,0 0-20 16,0 0-6-16,-15 5-3 0,7 2-6 0,0 5 0 15,-3 4-25-15,-2 2 35 0,0 6-35 16,1 2 36-16,-4 7-3 0,3 1-1 0,2 1 8 0,1-4 27 16,2-1-7-16,3 2-13 0,1-7 1 0,1 0-7 15,2-1-3-15,2 0 3 0,2-1-5 0,2-3 0 16,4 0 0-16,1-2 2 0,1-2-5 0,0 0 5 15,6-3-5-15,-1-4 5 0,2 1 2 0,1-4-2 16,-2-2-4-16,2 0 1 0,-1-3-3 0,1-3-5 16,2-2 3-16,-1-1-18 0,1-2 17 0,-1-3 1 15,-2-2-6-15,-2 0-28 0,1-1 30 0,-3-3-26 16,-2 0 23-16,-2 1-22 0,0 0 26 0,-3-1-24 16,-2 1 22-16,-1 2-23 0,-2 3 26 0,2 0-22 15,-2 1 18-15,0 3-31 0,-2 6 25 0,0-9-20 16,0 9 16-16,0 0-15 0,0 0 27 0,-9 7-29 15,5-1 30-15,3 2 3 0,-2 2-5 0,3-1 0 16,0 3 6-16,0-2 20 0,3 1-25 0,1 0 22 0,1-2 1 16,3 2 8-16,0-2-6 0,4-1 21 0,0-1-24 15,1-1 4-15,1 0-20 0,2-2 18 0,-2-3-21 16,-2 1 14-16,0-2-12 0,2 0 10 0,-2-1-14 16,-1-1 14-16,-2 0-14 0,-1-4 15 15,-2 2-21-15,-2-2 14 0,1-3-15 0,-4 2 7 0,-2-4-15 16,-4 2 14-16,1-3-18 0,-5 1 21 0,0-1-14 15,-2 1 10-15,-1 1-11 0,2 1 10 0,-4 1-18 16,1 2-8-16,-1-1-52 0,3 3-6 0,0 1-52 16,-1 1 1-16,0 1-18 0,12 1-15 0,-18 0-16 15,18 0-39-15,-15 1-227 0,15-1 79 0</inkml:trace>
  <inkml:trace contextRef="#ctx0" brushRef="#br0" timeOffset="27832.18">13145 5171 157 0,'0'0'191'0,"0"0"-50"0,-11-1-36 15,11 1-15-15,-12 7-3 0,7-1-22 0,-3 2-8 16,2 2-37-16,1 2 29 0,1 0-40 15,0 2 25-15,3 0 4 0,1 0-9 0,1 0-3 0,2 1 8 16,2 0 2-16,0 1 1 0,1 0-8 16,3-2-2-16,-1 3-4 0,2-2-4 0,-1 1 0 15,-1-1-3-15,-1-4-2 0,2 3-1 0,-2-2 0 0,-2-1-1 16,0-1 28-16,-2 1 7 0,-1-1-6 0,-2-1 0 16,-2 0-2-16,-2-1-3 0,0 1-5 0,-4-4-5 15,2 1 1-15,-3-1-7 0,1-1-4 0,-3-1 0 16,1 0-4-16,-1-2-42 0,11-1-33 0,-19 1-18 15,19-1-35-15,-18-2-25 0,18 2-49 0,-14-6-178 16,6 2 176-16</inkml:trace>
  <inkml:trace contextRef="#ctx0" brushRef="#br0" timeOffset="29044.18">14056 5253 39 0,'0'0'259'0,"0"0"-39"0,13-1-81 0,-5-3-1 0,1 0-31 16,2-1-21-16,2 1-19 0,2-2-44 0,1 1-90 15,1-1-90-15,3-1-111 0,-1-1 83 0</inkml:trace>
  <inkml:trace contextRef="#ctx0" brushRef="#br0" timeOffset="34601.49">13532 5136 58 0,'0'0'125'0,"0"0"-18"0,-2-6-22 15,2 6-22-15,0 0-10 0,0 0-11 0,0 0-9 16,0 0-5-16,0 0-2 0,-3-5-4 0,3 5 2 16,0 0 2-16,0 0-6 0,0 0 8 0,0 0 16 15,-6-4-8-15,6 4 6 0,0 0 3 0,0 0 1 16,0 0 0-16,0 0 0 0,0 0 2 0,-7-4-12 15,7 4-8-15,0 0-8 0,0 0-3 0,0 0-6 16,-11 1-4-16,11-1-1 0,-8 4 2 0,8-4 8 16,-11 8 0-16,4-1 8 0,0-1 7 0,-2 4-4 15,1 1 33-15,0 1-35 0,-2 1 42 0,1 2-33 16,0 4 40-16,2-1-32 0,-1 0 19 0,4-3-41 0,0 2 28 16,4 0-28-16,-1-1 35 0,2-2-27 15,2 1 25-15,1-1-22 0,1 0 32 0,0-2-26 16,5-1 19-16,-1-1-30 0,1-1 18 0,3-2-26 0,-1-1 21 15,0-2-27-15,0-2 18 0,1-1-18 16,1-1 23-16,0-1-11 0,0-1 14 0,1 0-10 0,-1-5 15 16,-1 1 13-16,2-1 8 0,-4-2-9 15,-1-1 9-15,1-1 14 0,-3-2-10 0,-3 0-11 0,0-1-13 16,-2-2-22-16,-2 0 8 0,-2 0-10 0,-2 2 3 16,-1-1-14-16,-1-1 9 0,-3 0-14 0,-3 1 13 15,2-1-16-15,-4 3 10 0,1 1-13 0,-1 2 10 16,0 1-14-16,0 2 10 0,-1 0-9 0,0 2 10 15,2 1-32-15,1 3-25 0,-2-2-35 0,3 3-57 16,10 0-26-16,-22 2-38 0,13 0-59 0,9-2-44 16,-14 5-265-16,14-5-89 0</inkml:trace>
  <inkml:trace contextRef="#ctx0" brushRef="#br0" timeOffset="34830.5">13755 5027 377 0,'0'0'414'15,"0"0"-85"-15,0 0-71 0,0-7-54 0,0 7-44 16,0 0-38-16,0 0-59 0,0 0-57 0,0 0-61 15,0 0-100-15,0 0-130 0,0 0-168 0,5 5 69 16</inkml:trace>
  <inkml:trace contextRef="#ctx0" brushRef="#br0" timeOffset="37648.91">8931 10411 90 0,'0'0'173'0,"10"3"-28"0,-10-3-24 0,10 3-16 16,-10-3 1-16,14 2 0 0,-14-2-11 0,17 1-13 15,-17-1-1-15,24 0-4 0,-9 1-12 0,-1-1-34 16,6-1 25-16,2 0-25 0,5 0 22 0,1 0-29 15,7-2 29-15,3 0-33 0,8 0 24 0,4-1-24 16,2 0 28-16,2-1-27 0,2 0 31 0,3 0-32 16,1-1 31-16,9-1-30 0,1 0 28 0,1 0-20 0,0 0 38 15,3-3-28-15,-1 2 13 0,5 0-29 0,-3-1 32 16,5 1-18-16,-5 0 22 0,3 1-31 16,-4-1 9-16,2 1-15 0,-2-1 18 0,-4 0-26 0,2 0 16 15,-1 1-14-15,-2 2 16 0,-9-2-19 0,0 1 9 16,-1 1-14-16,1 0 9 0,-5 1-13 15,-1-1 14-15,-2 1-18 0,-1-1 11 0,-6 2-10 0,-7 1 17 16,1-2-23-16,-10 3 20 0,2-1-16 0,-6-1 13 16,2 2-14-16,-6 1 12 0,-1-1-13 0,-3-1 14 15,-1 1-53-15,-4 1 0 0,-1-1-51 0,-11 1 2 16,19 0-36-16,-19 0-4 0,12 0-85 0,-12 0-20 16,0 0-263-16,0 0 8 0</inkml:trace>
  <inkml:trace contextRef="#ctx0" brushRef="#br0" timeOffset="38094.01">11628 10031 178 0,'-8'-3'348'0,"8"3"-64"16,0 0-95-16,-6-4-14 0,6 4-72 0,0 0-5 15,0 0-48-15,0 0 15 0,0 0-27 0,0 0 40 16,-3 6-19-16,3-6 24 0,6 9-36 0,-4-2 16 16,3 0-37-16,2 0 19 0,-2 2-24 0,1 4 34 15,1-2-8-15,-1 2 34 0,0-1-30 0,1 2 7 16,-1-1-23-16,-1 2 6 0,-1-2-25 0,2 0 17 16,-2 1-21-16,-3-2 19 0,1 1 14 0,-4-1-4 15,1 2-10-15,-3-1 3 0,-2 1-15 0,0-2 11 16,-1 2-8-16,-2-2 5 0,-2 1-5 0,1-2-4 15,-2 1-52-15,-2-3-32 0,2 2-72 0,-1-1-37 0,-3 0-98 16,1-2-77-16,-1-1-170 0,0-2-22 16</inkml:trace>
  <inkml:trace contextRef="#ctx0" brushRef="#br0" timeOffset="39466.68">8995 10440 164 0,'0'0'266'0,"0"0"-47"0,0 0-32 0,0 0-48 16,-10-1 4-16,10 1-55 0,0 0 11 0,0 0-43 15,0 0 17-15,0 0-36 0,0 0 18 0,0 0-32 0,0 0 27 16,0 0-20-16,9-2 36 0,-9 2-25 0,22-2 15 16,-9-1-28-16,6 2 17 0,-1-1-30 0,2 1 26 15,6-3-35-15,-1 2 27 0,2 0-28 0,0-1 25 16,1 1-32-16,3 0 25 0,-2 1-26 16,2 0 24-16,0 0-26 0,-1 1 25 0,2 0-26 0,-1 0 22 15,1 0-25-15,-2 0 24 0,1 0-23 0,1 0 22 16,-1 1-7-16,-2-1 8 0,3 0-10 0,-1 0 33 15,-1 0-24-15,1 0 21 0,-2-1-26 0,2 1 16 16,-1-2-18-16,0 1 22 0,-2-1-26 0,2 0 23 16,-2 1-24-16,1-1 21 0,-2-1-25 0,2 1 28 15,-1-1-17-15,1 0 2 0,-1 0-16 0,-1 0 18 16,1-1-16-16,-1 1 17 0,1 1-16 0,-3-2 18 16,3 1-19-16,-1 0 25 0,1-2-20 0,-1 3 16 15,0-2-18-15,1 0 19 0,-1 2-18 0,0-3 13 16,0 3-18-16,-2-2 19 0,3 2-22 0,-5-1 22 15,4 0-19-15,-4 0 12 0,3 0-15 0,-2 0 19 16,-5 1-18-16,3 0 15 0,-1-1-17 0,0 1 31 16,-2-2-27-16,2 2 11 0,-3-2-18 0,1 2 20 0,-3 0-18 15,2-1 21-15,0 0-20 0,-1 0 13 0,-1 1-11 16,0-2 14-16,0 2-15 0,0-1 13 0,-2 2-12 16,0-2 14-16,0 1-13 0,-1 0 16 15,1-1-20-15,0 2 18 0,0-1-18 0,0 1 19 0,-1 0-19 16,1-1 11-16,-3 1-11 0,2 1 17 0,1-1-15 15,-2-1 18-15,0 2-19 0,1-1 19 0,1 0-18 16,0 1 17-16,-1-1-16 0,1-1 18 0,0 0-19 16,1 2 21-16,0-2-18 0,0 1 8 0,0 0-11 15,2 0 14-15,-3-1-11 0,1 1 15 0,-1-1-17 16,4 1 16-16,-4 0-13 0,0 0 13 0,2 0-17 16,-3 0 17-16,2-2-19 0,-1 2 16 0,-3 0-10 15,2 0 5-15,-2 0-12 0,0 0 18 0,-11 1-13 16,19-2 19-16,-19 2 5 0,17-1 16 0,-17 1-10 15,16-3 5-15,-16 3-11 0,14-1 10 0,-14 1-3 16,15-2-6-16,-15 2 0 0,13-1-8 0,-13 1 3 16,16-4-5-16,-16 4-3 0,15-2 1 0,-15 2 14 15,18-2-6-15,-9 0 15 0,0-1-10 0,2 1 19 16,-2 0-13-16,0-1 16 0,1 1-16 0,-1 0 9 16,-1-1 3-16,-8 3 1 0,15-3-14 0,-15 3 8 15,12-4-22-15,-12 4 15 0,10-2-17 0,-10 2 13 16,10-3-22-16,-10 3 15 0,0 0-15 0,9-2-21 0,-9 2-19 15,0 0-13-15,0 0-80 0,0 0-61 0,-6 6-132 16,6-6-123-16,-13 6-221 0,13-6-175 0</inkml:trace>
  <inkml:trace contextRef="#ctx0" brushRef="#br0" timeOffset="39897.55">11838 9874 79 0,'0'0'368'0,"5"5"-89"0,-5-5-38 0,3 7-38 16,-3-7-32-16,4 11-24 0,-1-4-1 0,-2-1 27 15,1 1-34-15,-1 1-23 0,0 0-20 0,2 0-20 16,-2 0-13-16,2 0-15 0,-2-2 1 0,0 2-16 15,2-1-1-15,-3-7-6 0,1 12-3 0,-1-12-2 0,4 10 7 16,-4-10 60-16,2 11 20 0,-2-11 41 0,0 0 36 16,0 7-29-16,0-7-29 0,0 0-30 15,0 0-16-15,0 0-12 0,-6-8-15 0,3 1-12 0,1-2-17 16,-1-2 4-16,2-1-15 0,0-3 5 0,1-2-7 16,1-1-2-16,-1 0-7 0,4 0-1 15,0 0-3-15,-1 0 0 0,1 2 13 0,0 2-1 0,1 1-6 16,0-1-1-16,1 6-12 0,-1-2 7 0,2 3-6 15,0 1 4-15,-1 1 6 0,-6 5-4 0,17-2 0 16,-17 2 1-16,18 5 2 0,-8 0 2 0,1 2 1 16,1 0 5-16,-1 4-2 0,-1-1-6 0,1 2 15 15,-2 2-69-15,-2 0-25 0,0 1-38 0,-1 0-56 16,-2 1-31-16,0 0-58 0,-3 1-34 0,-2-2-74 16,-3-3-379-16,0 1-253 0</inkml:trace>
  <inkml:trace contextRef="#ctx0" brushRef="#br0" timeOffset="40052.07">11884 9975 282 0,'-2'-7'298'0,"4"-1"-72"0,0 2-53 15,1-2-28-15,3 2-29 0,-2-1-30 0,5-1-12 16,-1 2-16-16,1-1-10 0,3 2-8 0,1-2-11 16,0 3-44-16,4-2-37 0,-3 2-35 0,2-1-33 0,1 2-20 15,-3-2-35-15,0 1-133 0,3 0 231 0</inkml:trace>
  <inkml:trace contextRef="#ctx0" brushRef="#br0" timeOffset="41667.12">11994 10283 249 0,'-4'-5'405'0,"4"5"-146"0,0 0-27 15,0 0-80-15,-3 4-8 0,3-4-35 0,-1 12 40 16,1-6-48-16,1 4 51 0,1-1-22 0,-1 2-8 15,0 0 4-15,4 2-20 0,-2-1-19 0,-1 0-8 16,2 2-18-16,-1-3-3 0,-1 0-10 0,1 0 24 16,-1 0 3-16,1-1-7 0,-2-2-19 0,-1 0-1 15,3-1 15-15,-2 0 11 0,-1-7 51 0,0 10 2 16,0-10-28-16,-4 7-14 0,4-7-12 0,0 0-11 16,-11 0-14-16,11 0-10 0,-11-7-6 0,5 0-10 15,1-3-1-15,0-2-4 0,0-2-6 0,1-3 0 16,1-5-8-16,3 0-3 0,0-3-29 0,3-1 5 15,1 2 7-15,1-1-2 0,1 3 2 0,3-1 1 16,0 3-1-16,0 1 3 0,1 2-6 0,3 2 9 16,-4 4-11-16,0 1 12 0,2 3 1 0,-2 1 0 0,-1 4-12 15,-8 2 15-15,17 0-13 0,-17 0 16 16,13 8-10-16,-8-1 14 0,1 1-16 0,-2 2 16 16,1 0-9-16,-1 2 19 0,-2 0-22 0,2 1 13 0,0 1-12 15,2-1 12-15,-2 2-12 0,3 0 15 0,-1-1-12 16,0 1 12-16,3-3-13 0,0 2 15 0,0 1-29 15,0 0 29-15,1-2-12 0,-1-1 13 16,-1 0-15-16,2 0 15 0,-3-1 0 0,-2-2-2 0,0 1 2 16,-4-2 0-16,0 1-4 0,-2-2 2 0,-4 2 0 15,0-4 3-15,-3 2-3 0,-2 0-1 0,1-3 2 16,-3 1-3-16,0 1 0 0,-2-1-19 0,-3 0-45 16,4-1-50-16,-2 0-69 0,0 1-30 0,1-2-67 15,1 0-67-15,1 0-461 0,-2 0-330 0</inkml:trace>
  <inkml:trace contextRef="#ctx0" brushRef="#br0" timeOffset="42281.14">11539 10074 215 0,'0'0'360'0,"1"-10"-65"0,-1 10-91 16,4-10-17-16,-4 10-74 0,5-8 9 0,-5 8-40 0,8-6-19 16,-8 6 11-16,12-3-5 0,-12 3 16 0,18 5-18 15,-8 1 12-15,3 0 0 0,-1 4 29 16,3 1-29-16,-1 1-5 0,0 3-23 0,0 1 28 0,-1-1-12 15,-3 2-6-15,0-1-8 0,-1 2-15 0,-2-4-1 16,-3 2-1-16,-2-2-2 0,-2 0 25 0,0 0-33 16,-2 0 13-16,-4 1-16 0,1-1 5 0,-2 1-12 15,-1-3 11-15,-1 1-12 0,-1 0 9 0,2-1-2 16,-1-1-45-16,0-1-66 0,-2-1-57 16,2 0-43-16,0-2-109 0,0 0-131 0,0-3-172 0,1 1-113 15</inkml:trace>
  <inkml:trace contextRef="#ctx0" brushRef="#br0" timeOffset="44703.39">9085 10429 87 0,'0'0'244'0,"0"0"-26"0,0 0-70 0,0 0 14 0,0 0-42 16,0 0 19-16,0 0-44 0,0 0 19 0,0 0-38 15,0 0 16-15,0 0-36 0,0 0 24 0,0 0-33 16,0 0 26-16,0 0-35 0,0 0 2 0,0 0-6 16,0 0-8-16,0 0-4 0,0 0-4 0,0 0-5 15,0 0-5-15,0 0 0 0,0 0-6 0,0 0-5 16,0 0 11-16,0 0 31 0,0 0 10 0,0 0 20 16,0 0-2-16,1 7-14 0,-1-7-6 0,0 0-6 15,0 0 8-15,4 7 3 0,-4-7 1 0,0 0 16 16,0 0 2-16,0 0 3 0,1 6 4 0,-1-6 1 15,0 0-7-15,0 0-7 0,0 0-9 0,0 0-3 16,0 0-4-16,0 0 0 0,2 6-5 0,-2-6-6 0,0 0-7 16,0 0-3-16,0 0-3 0,0 0-7 0,0 0-5 15,0 0 2-15,-6-5-7 0,6 5 3 16,-2-4-4-16,2 4-3 0,-3-9 1 0,3 9-2 0,-2-9 0 16,2 9-4-16,-4-11 3 0,4 11-4 0,-3-10-3 15,3 10 4-15,-2-10 7 0,2 10-16 0,-4-7 4 16,4 7-2-16,0-7-4 0,0 7 0 0,0 0 1 15,-1-7 3-15,1 7-6 0,0 0 6 0,0 0 2 16,0 0 1-16,0 0 1 0,0 0 3 0,5 6 3 16,-5-6-8-16,4 6 3 0,-4-6 3 0,2 6 2 15,-2-6-4-15,1 9 3 0,-1-9 0 0,2 7 4 16,-2-7 13-16,-3 10 12 0,3-10-5 0,-1 10-2 16,1-10-7-16,-3 9-5 0,3-9 2 0,-6 9-12 15,6-9-32-15,-4 9-21 0,4-9-8 0,-5 8-14 16,5-8-33-16,-4 4-39 0,4-4-50 0,-1 7-46 15,1-7-52-15,0 0-119 0,-1 8-172 0,1-8-97 16</inkml:trace>
  <inkml:trace contextRef="#ctx0" brushRef="#br0" timeOffset="45867.76">13807 5191 272 0,'0'0'393'0,"-13"3"-77"0,13-3-66 0,0 0-36 15,-10-3-63-15,10 3-13 0,0 0-49 0,4-7 1 16,4 4-35-16,2-1 10 0,5-2-33 0,1 1-9 16,5 0-57-16,2 1-60 0,4-1-49 0,-1 0-68 15,2 0-293-15,4 0 3 0</inkml:trace>
  <inkml:trace contextRef="#ctx0" brushRef="#br0" timeOffset="46163.76">15045 4689 1 0,'4'-7'436'0,"0"2"-95"0,-4 5-73 16,5-9-70-16,-5 9-53 0,7-6-39 15,-7 6-22-15,0 0-19 0,12 1-14 0,-7 4 6 0,2 1 33 16,-1 2-9-16,2 3 17 0,2 2-23 16,-1 2-14-16,0 2-7 0,1 0-10 0,1 2-3 0,-2 0-7 15,1 0-10-15,-4 1-10 0,3 1 16 0,-4 0 0 16,3 0-22-16,-3-2-49 0,1 2-59 16,-3-5-77-16,-1 2-58 0,1-2-76 0,-3-3-183 0,3-2 17 15</inkml:trace>
  <inkml:trace contextRef="#ctx0" brushRef="#br0" timeOffset="46344.34">15129 4685 397 0,'-4'-8'351'0,"0"1"-85"0,4 7-50 0,-8-7-57 15,8 7-33-15,-10-2-30 0,10 2-16 0,-13 6-12 16,7-2-11-16,-1 4-13 0,-3 1 3 0,2 3-11 15,2 2-28-15,0 0-71 0,-2 3-58 0,3-1-71 16,1 3-302-16,0-3 14 0</inkml:trace>
  <inkml:trace contextRef="#ctx0" brushRef="#br0" timeOffset="46515.34">15085 5031 365 0,'12'-3'392'0,"-6"0"-58"0,4-1-55 0,-1-1-38 15,4-1-33-15,1 0-46 0,0-2-23 0,5 0-21 0,-1-1-22 16,0 0-21-16,2 2-17 0,1 0-12 0,-1 1-6 16,2 0-10-16,-4 1-35 0,1 2-30 15,0-1-67-15,-3 2-45 0,0-1-79 0,0 3-62 16,-2-1-268-16,-3 0-67 0</inkml:trace>
  <inkml:trace contextRef="#ctx0" brushRef="#br0" timeOffset="52377.65">16070 4427 453 0,'13'-4'483'0,"-13"4"-131"16,0 0-65-16,15 4 14 0,-8 0-31 16,-2 5-16-16,0 1-16 0,3 6-59 0,-2 3-7 15,-1 2-30-15,0 3-4 0,1 1-38 0,-3 4-6 0,4 1-18 16,-5 1-1-16,2-1-22 0,1 1 0 15,-1-2-19-15,1-3 2 0,-1 2-9 0,6 1 5 16,-5-6-17-16,3 0-39 0,-1-1-62 0,1-1-25 0,-1-2-51 16,-1-1-24-16,3-3-16 0,-1-2-62 0,-1-3-1 15,1 1-44-15,0-4-73 0,-1-2-205 0,-7-5-98 16</inkml:trace>
  <inkml:trace contextRef="#ctx0" brushRef="#br0" timeOffset="52677.65">16403 4642 128 0,'2'-11'451'0,"2"3"-107"0,-1 0-103 0,-3 8-30 16,5-5-15-16,-5 5-3 0,0 0-36 0,6 6-13 15,-6-6-41-15,9 12 5 0,-5-5-32 0,0 2-4 16,2-1 31-16,1 3-29 0,3-1 8 0,-1-1-2 16,1 1 22-16,3 0-16 0,-2-2 6 0,5 0-18 15,0-1 14-15,-2 0-27 0,3-3 6 0,1 0-23 16,-4 1 17-16,-1-5 2 0,1 1 6 0,-3-2-24 15,1-1 5-15,-3-1-21 0,0-2 8 0,-3-1-18 16,0-2 8-16,-3 0-17 0,-5 0 8 0,1-2-18 16,-5-1 12-16,0 0-12 0,-3 1 8 0,-2 0-14 15,-4 1-10-15,-2 0-41 0,-3 4 5 0,0 0-55 16,0 1 16-16,1 2-27 0,-2-1 9 0,1 3-33 16,1 0-50-16,4 0 3 0,1 0-41 0,1 0-29 15,13 0 5-15,-18 0-14 0,18 0-48 0,0 0-132 0,-3-5 78 16</inkml:trace>
  <inkml:trace contextRef="#ctx0" brushRef="#br0" timeOffset="52954.66">16840 4502 235 0,'6'8'431'0,"-3"0"-54"0,-1-1-57 0,0 3-52 16,-1 0-15-16,0 1-47 0,-1 0-18 0,0 0-34 0,0 1 2 15,0-1-35-15,3 1 10 0,-2-2-12 0,3-1 22 16,-1 0-14-16,3-1-2 0,0-1-26 15,2-1 8-15,3 0-24 0,-2-4-11 0,4 1-12 16,2-3-7-16,-2 0-16 0,1-3 2 0,2 1-11 0,-1-4 3 16,-1 0-11-16,-1 0 2 0,-2-3-4 0,-2-1 1 15,-1-2-6-15,-3 0 4 0,-4 0-8 0,0 0-3 16,-3 0-7-16,-2 0 3 0,-5 0-5 0,0 2 3 16,-2 1-9-16,-3 1-28 0,-2 2-31 0,-2 2-13 15,2 1-27-15,-3 1 5 0,0 2-33 0,2 0-8 16,-1 1-22-16,1 2-37 0,2 0-13 0,3 2-70 15,1-2 11-15,3 1-38 0,3 0-295 0,5-4-121 16</inkml:trace>
  <inkml:trace contextRef="#ctx0" brushRef="#br0" timeOffset="53170.65">17398 4286 260 0,'11'-8'497'0,"-1"2"-101"15,-4 0-88-15,2 1-70 0,-8 5-53 0,9-2-32 16,-9 2-17-16,6 5-19 0,-6 4-27 0,-2 0-4 16,-1 4-13-16,-1 2-12 0,0 1-8 0,-1 4-3 15,1 2 2-15,-1-1-23 0,1 2 6 0,-2 0-8 16,2 1 2-16,-1 0-8 0,1-1 3 0,0 0-6 16,2-5 9-16,-1 1-57 0,1-2-67 0,-2-1-47 15,1-1-84-15,2-3-54 0,-1-3-410 0,0-2-199 0</inkml:trace>
  <inkml:trace contextRef="#ctx0" brushRef="#br0" timeOffset="53307.24">17221 4369 135 0,'-6'-9'516'0,"3"2"-125"0,-1 3-93 16,4 4-75-16,-4-10-85 0,4 10-78 0,0 0-41 15,0-7-77-15,0 7-62 0,10-1-72 0,1 0-252 0,1 1 79 16</inkml:trace>
  <inkml:trace contextRef="#ctx0" brushRef="#br0" timeOffset="53397.23">17520 4364 274 0,'21'5'309'16,"-5"-3"-68"-16,0 2-42 0,-3-1-32 0,-1 0-38 15,-1 0-25-15,-2 1-19 0,0 0 3 0,-1 1-6 16,-8-5-72-16,5 10-165 0,-5-10-327 0,-4 10 32 16</inkml:trace>
  <inkml:trace contextRef="#ctx0" brushRef="#br0" timeOffset="54051.83">16265 3770 369 0,'-15'3'472'0,"4"-1"-45"0,2 0-61 0,9-2-15 15,-14 3-51-15,14-3-58 0,0 0-70 0,-7-5-21 16,7 5-43-16,15-9-11 0,0 1-21 0,6-1-2 15,7-3-9-15,1-1-6 0,8 1-6 0,0-2-5 16,-1 1-16-16,-5 3 3 0,-2-1-8 0,1 3-3 16,-9 0-6-16,-1 2 0 0,-3 1-6 0,-3-1 4 0,-1 2-2 15,-3 1 0-15,0-1-5 0,-10 4-2 16,12-4-34-16,-12 4-35 0,0 0-31 0,0 0-31 16,0 0-31-16,0 0-51 0,-9 4-70 0,9-4-54 15,-8 4-105-15,8-4-177 0,-12 3-123 0</inkml:trace>
  <inkml:trace contextRef="#ctx0" brushRef="#br0" timeOffset="54988.4">17166 3193 227 0,'0'0'247'0,"-8"-6"-48"16,8 6-39-16,-8-5-35 0,8 5-24 0,-14-1-17 15,14 1-2-15,-13 1-17 0,6 2-7 0,0 3-13 0,-1-2 43 16,0 3-28-16,0 2-3 0,2 0-15 16,-2 3 5-16,3 1-10 0,1 2 23 0,0 0-15 0,4 1 12 15,0 1-7-15,2 1 35 0,1 0-41 0,5 0 16 16,1 1-31-16,0-1 19 0,1 0-31 15,4-1 22-15,-1-2-30 0,2 0 31 0,-2-1-24 0,0-1 29 16,2-4-27-16,-4 1 51 0,1-3 0 16,0 0 35-16,-2-2 16 0,0-2 20 0,-1 0-11 0,-9-3 1 15,17 0-31-15,-17 0-21 0,13-7 6 0,-8 0-25 16,0 0 41-16,-4-1-28 0,2-3-1 16,-2 0-23-16,-2 0 3 0,-1-2-19 0,1-2 3 0,-4 2-17 15,0-4 6-15,-2 2-14 0,1 0 5 0,-4-1-8 16,1-1 7-16,-1 3-12 0,0 1 6 0,0 1-8 15,1 1 7-15,-1 0-60 0,3 1-20 0,0 2-57 16,-2 1 0-16,3 0-56 0,0 1 5 16,-1 1-52-16,7 5-18 0,-11-4-46 0,11 4-56 0,-12-3-308 15,12 3-171-15</inkml:trace>
  <inkml:trace contextRef="#ctx0" brushRef="#br0" timeOffset="55632.4">17719 2992 290 0,'0'-10'407'0,"0"10"-126"16,0 0-44-16,-1-4-60 0,1 4-11 0,0 0-17 15,-4 9 27-15,0-2-23 0,3 1-23 0,-2 3-49 16,1 1 28-16,-1 1-57 0,2 1 29 0,-2 3-54 15,3 1 25-15,-1 0-37 0,0 2 33 0,1 4-33 16,-3-3 17-16,2 4-28 0,1 1 20 0,-3 1-24 16,2 0 32-16,-3 4-65 0,-1 0-61 0,1-2-32 15,-1 0-71-15,0-4-88 0,-4-2-345 0,4-1-142 16</inkml:trace>
  <inkml:trace contextRef="#ctx0" brushRef="#br0" timeOffset="55798.4">17511 3292 331 0,'1'-10'401'15,"-1"2"-38"-15,0 1-102 0,1 0-39 16,-1 7-65-16,0-13-4 0,0 13-64 0,0-10 3 16,0 10-77-16,4-7-49 0,-4 7-95 0,0 0-90 15,14-1-313-15,-14 1-37 0</inkml:trace>
  <inkml:trace contextRef="#ctx0" brushRef="#br0" timeOffset="55929.4">17853 3345 352 0,'9'6'366'16,"-9"-6"-60"-16,8 5-78 0,-8-5-30 0,0 0-62 16,10 4-11-16,-10-4-42 0,0 0-48 15,9 3-101-15,-9-3-103 0,0 0-109 0,8 4-139 16,-8-4 119-16</inkml:trace>
  <inkml:trace contextRef="#ctx0" brushRef="#br0" timeOffset="56381.98">16988 3812 170 0,'-11'2'451'16,"11"-2"-73"-16,-16 4-37 0,16-4-48 0,-11 2-36 16,11-2-44-16,0 0-33 0,0 0-48 0,0 0-27 15,0 0-15-15,10-7 6 0,5 3-28 0,6-4 0 16,8-1-5-16,4-1 16 0,7-2-27 0,3 0-2 16,2-1-5-16,5 1-7 0,-3-3-12 0,3 2-2 15,1-1 1-15,-1 0-4 0,1-1-4 0,-2 2-2 0,-1-2-2 16,-2 2-4-16,0 0-3 0,-5 1-4 15,0 0-23-15,-8 3 31 0,-5 1-24 0,-4 1 34 16,-3 1-34-16,-2 1 30 0,-6 1-26 0,4-2 23 16,-6 3-60-16,-2 1-13 0,1-1-54 0,-10 3-4 15,8-2-79-15,-8 2-54 0,0 0-99 0,-5 5-344 0,5-5-201 16</inkml:trace>
  <inkml:trace contextRef="#ctx0" brushRef="#br0" timeOffset="56690.98">17222 3913 49 0,'-8'8'508'0,"3"-1"-106"16,1-1-68-16,4-6-56 0,-2 5-18 0,2-5-22 0,0 0-28 15,20-1-27-15,-6-3-21 0,7-3-7 0,3 0-16 16,7-3-6-16,4-1 0 0,6-4-5 0,-1 2-35 15,2-2-3-15,0 2-23 0,0-2 2 0,1 0-23 16,0 2 1-16,-1 0-21 0,0 0 12 0,-3 1-21 16,-5 2-4-16,-2 1-2 0,-4 1-3 0,-3 3 0 15,-5-2-5-15,-1 2 5 0,-3 1-3 0,-1 0-1 16,-5 0-1-16,3 2-7 16,-3-2-48-16,-1 2-27 0,-9 2-1 0,13-2-11 0,-13 2-22 0,0 0-28 15,0 0-44-15,0 0-25 0,0 0-61 0,-3 6-89 16,3-6-365-16,-14 4-231 0</inkml:trace>
  <inkml:trace contextRef="#ctx0" brushRef="#br0" timeOffset="65815.86">19623 6831 41 0,'26'-27'203'0,"-2"2"-66"15,-5 5-70-15,0 2-25 0,-3 5-35 0,-3 0-38 16,-3 0-117-16,-1 3 39 0</inkml:trace>
  <inkml:trace contextRef="#ctx0" brushRef="#br0" timeOffset="67375.25">20023 3297 108 0,'0'0'208'0,"0"0"-65"0,0 0-36 0,0 0-28 15,0 0-23-15,0 8-6 0,0-8 2 0,2 12 0 16,0-2-6-16,-1 1 19 0,2 3 8 0,3 2-11 15,-2 1-7-15,3 4-12 0,-1 1 1 0,-1 1-9 16,5 4 0-16,-3 2-4 0,-1 0 45 0,3 2-2 16,-1 2-13-16,1 4-21 0,-3 1 6 0,3 1-22 0,-1 0 12 15,-3 3-13-15,0 0 8 0,-1 2-19 16,-2-7 12-16,1 0-8 0,-2 1 11 0,-1 0-14 16,0-1 24-16,0 0 22 0,-2-3 13 0,0 1-6 0,-3-2-3 15,3-1 4-15,-1-1-28 0,-1-4 13 16,0 0-20-16,-1-2 30 0,3-1-11 0,-2-2-3 0,0 0-15 15,0-4 0-15,2-1-16 0,-2-1 5 16,1-1-10-16,1-3 6 0,0 0-14 0,-1-1 9 0,0-1 0 16,2-2 5-16,0-1 38 0,1 0-14 0,-2 0 8 15,2-7-10-15,0 10-2 0,0-10-12 0,3 8 9 16,-3-8-18-16,10 5 3 0,-2-2-11 0,3-2 10 16,3 0-15-16,3 0 8 0,3-1-6 0,3 2 6 15,7-4-13-15,1 2 14 0,9-1-11 0,11 0 9 16,1 0-10-16,4 1 8 0,2-1-19 0,5-1 23 15,1 2-16-15,13 0 12 0,-2-1-11 0,4 1 11 16,3 0-15-16,1-1 15 0,4 1-14 0,1 0 12 16,3 0-11-16,0 0 9 0,2 1-18 0,0-1 20 15,-1 0-17-15,2 0 17 0,0 0-10 0,-1 0 14 16,2 0-15-16,-2 0 11 0,-3-1-10 0,-1 1 10 16,-7-1-12-16,-1 1 8 0,-7-3-6 0,-13 2 11 15,-2-1-11-15,-4-1 9 0,-4 1-5 0,-4-2 12 0,-11 2-5 16,2-2 43-16,-8 1-23 0,-5-1 9 15,1 2-17-15,-3-2 15 0,-4 0-18 0,-2 2 12 16,-1-3-16-16,-4 3 9 0,-2 0-30 0,0-1 7 16,-10 3-32-16,14-5-42 0,-14 5-53 0,0 0-73 0,0 0-7 15,-14-2-132-15,2 2-102 0,-4 1-177 0,-6-2-132 16</inkml:trace>
  <inkml:trace contextRef="#ctx0" brushRef="#br0" timeOffset="68448.27">20177 4075 216 0,'-9'-2'278'0,"9"2"-38"16,0 0-8-16,-12-4-29 0,12 4-6 0,0 0-42 15,-7-3-6-15,7 3-48 0,0 0-7 0,0 0-36 16,0 0 5-16,0 0-35 0,3-6 13 0,-3 6-31 16,18-1 18-16,-5 1-16 0,2 0 12 0,2 0-19 15,3 1 15-15,1 2-21 0,-1 0 19 0,5 1-18 16,-1-1 9-16,-1 1-13 0,-1 1 21 0,1 0-22 15,-2 0 20-15,-3-1-22 0,1 0 13 0,-1 1-17 16,-2-1 25-16,0-1-21 0,-6 1 15 0,2-2-20 16,-2 1 14-16,0 0-7 0,-2 0 17 0,-8-3-17 0,15 2 16 15,-15-2-22-15,13 3 9 0,-13-3-8 16,10 5 15-16,-10-5-18 0,9 3 14 0,-9-3-17 16,4 7 23-16,-4-7-4 0,4 12 11 0,-3-5-16 15,1 3 39-15,-2 1-9 0,0 2 23 0,-2 0 17 0,1 4-24 16,1 1 11-16,0 1-4 0,-1 0-16 0,1 2 2 15,-2 0 19-15,2 3-13 0,0 0-1 0,0 2-13 16,2-1 8-16,-2-2-15 0,1 3 0 0,-1-2-18 16,0-4 22-16,0 1-11 0,0-1 3 0,0-1-3 15,0-1-2-15,0-1-3 0,0 0-7 0,0-4 11 16,0-1-5-16,0 0-4 0,0-2 5 0,0-1 5 16,-1-1-5-16,1-1 25 0,0 0 8 0,0-7 1 15,0 11-2-15,0-11-9 0,-3 8-4 0,3-8-55 16,0 0-77-16,0 0-74 0,0 0-112 0,0 0-132 15,-9-2-283-15,9 2-210 0</inkml:trace>
  <inkml:trace contextRef="#ctx0" brushRef="#br0" timeOffset="68918">21181 4089 308 0,'-3'-12'283'0,"1"1"-57"0,-4 1-55 16,1 0-23-16,-4 2-40 0,0 1-18 0,-4 0-23 16,1 3-7-16,-3 1-11 0,1 3 5 0,-3 1-17 15,3 3 0-15,-4 1-20 0,4 1 6 0,0 0-15 16,3 4 7-16,0-2-16 0,1 2 22 0,4-1-10 15,1 2 20-15,2-2-11 0,2 2 14 0,2 0-4 16,2 0 14-16,3 0-14 0,1-1 14 0,4 2-22 16,-2-4 12-16,3 2-11 0,0-5 17 0,1 0-25 15,-1-1 20-15,-1-2-23 0,2-2 20 0,0-1-19 16,-2-1 12-16,2-3-26 0,-2-1 16 0,1-1-19 16,-2-1 19-16,-1 3-13 0,-1-3 5 0,-2 1 14 15,2 2 31-15,-2 0-44 0,-6 5 7 0,9-8-16 16,-9 8 9-16,0 0-21 0,0 0 17 0,10 3-14 15,-10-3 16-15,0 13-9 0,-2-6 9 0,1 4-9 16,1-2 16-16,-2 3 4 0,1 2 3 0,1-1-6 16,0 1 3-16,0 3 0 0,0 0-4 0,0 1 5 15,0-2-12-15,0 2 18 0,1 1-7 0,1-4 12 0,1 2-15 16,-3 0-53-16,3-3-54 0,-1 0-23 0,2-1-69 16,0-3-8-16,0 0-55 0,3-3-278 0,1-2-32 15</inkml:trace>
  <inkml:trace contextRef="#ctx0" brushRef="#br0" timeOffset="69217.07">21531 4111 30 0,'0'0'383'0,"-1"-11"-106"16,1 11-74-16,-8-4-31 0,8 4-28 0,-14 3-24 16,14-3-30-16,-14 7-14 0,8-3-18 0,-3 2 48 15,3 2-36-15,-1-1 4 0,3 2-34 0,-1-1 20 16,4 2-27-16,0 0 15 0,1 2-16 0,2-3 32 15,1 2-22-15,1-3 17 0,1 2-24 0,1-2 27 16,2 0 0-16,-2-3 0 0,1 1 6 0,0-1 23 16,-7-5-1-16,14 4-14 0,-14-4-16 0,13-2-10 15,-6-2-37-15,-2-2 27 0,1 0-35 0,-2-4 27 16,-2 2-36-16,0-4 29 0,-1 1-31 0,-2-1 21 16,-1-1-27-16,-3-1 30 0,1 0-37 0,-3 1 32 15,-1 0-31-15,0 3 36 0,-1-2-12 0,1 3 3 16,-1 0-34-16,-1 3-74 0,2 0-35 0,1 1-38 15,0 2-53-15,7 3-28 0,-9-4-1 0,9 4-59 16,0 0-157-16,0-7 44 0</inkml:trace>
  <inkml:trace contextRef="#ctx0" brushRef="#br0" timeOffset="69341.06">21760 3963 408 0,'10'-4'420'0,"-2"0"-81"0,-3-1-21 15,3 1-36-15,-2 1-36 0,-1-2-41 16,-1 2-44-16,-4 3-34 0,8-7-29 0,-8 7-23 0,9-4-37 15,-9 4-80-15,0 0-31 0,0 0-74 0,0 0-62 16,9 2-103-16,-9-2-294 0,0 8-121 0</inkml:trace>
  <inkml:trace contextRef="#ctx0" brushRef="#br0" timeOffset="70117.63">23563 4409 16 0,'4'-7'455'16,"-4"-1"-148"-16,0 8-57 0,0-10-65 0,0 10-43 16,-5-6-37-16,5 6-12 0,-8-3-22 0,8 3 34 0,-17 3-20 15,6 0-12-15,2 2-17 0,-5 1-12 0,1 1-8 16,0 3 2-16,1-1-9 0,-3 3-23 15,1 1 31-15,-2 1-21 0,2 0 13 0,3 0-1 0,-3 1 0 16,2-2 0-16,-2 2-75 0,3-4-42 0,0 2-44 16,0-4-56-16,1 1-38 0,-1-3-268 0,1-3 14 15</inkml:trace>
  <inkml:trace contextRef="#ctx0" brushRef="#br0" timeOffset="70424.63">23272 4368 116 0,'0'0'370'0,"4"-8"-121"0,-4 8-55 0,0 0-49 16,0 0-25-16,0 0-31 0,0 0-11 0,11 4-19 16,-7 2 1-16,0 0-12 0,4 4-1 0,1-2-3 15,0 4-5-15,3 2-1 0,2 0-3 0,2 0 2 16,0 2-7-16,0 0-1 0,0-3-3 0,1 1-34 16,0-1-28-16,0-1-34 0,0-1-22 0,2-1-9 15,0-3-1-15,-2-1-13 0,1-1 13 0,0-3 9 0,1-1 17 16,0-1 22-16,-5 0 36 0,3-1 72 0,-4 1 53 15,-1-2 31-15,1 2 18 0,-3-1-8 0,-10 1 6 16,18-2-53-16,-18 2-4 0,14 0-44 16,-14 0 3-16,14 3-30 0,-14-3 24 0,7 6-3 0,-7-6 33 15,5 9-22-15,-4-2 2 0,-1 1-18 0,1 2 2 16,1 2-8-16,-1-1-6 0,0 4-2 0,-1-1 3 16,0 3 1-16,0 1-6 0,2 0-7 0,-1 1-77 15,-1-1-74-15,0 0-123 0,1 0-447 0,-1-4-209 16</inkml:trace>
  <inkml:trace contextRef="#ctx0" brushRef="#br0" timeOffset="71125.32">19733 2925 418 0,'0'0'339'0,"7"-2"-100"16,-7 2-41-16,0 0-55 0,-4 4-14 0,-3 3-24 15,-2-2 3-15,-1 5-23 0,-4 1 6 0,-3 2-23 0,1 2 7 16,-2 3-29-16,-1 0 3 0,1 1-28 15,-1 1 25-15,3 1-25 0,-1-1 17 0,0 1-28 16,3 1 19-16,2-4-21 0,0 0-3 0,1 0-85 16,2-2-18-16,1-2-66 0,1-1-31 0,1-2-41 0,0-3-19 15,4-1-141-15,2-7 150 0</inkml:trace>
  <inkml:trace contextRef="#ctx0" brushRef="#br0" timeOffset="71296.32">19489 3020 224 0,'1'-8'379'0,"1"2"-106"0,-2 6-80 0,2-8-29 16,-2 8-57-16,0 0-10 0,0 0 5 0,0 0-5 16,9 2-4-16,-5 4 3 0,2 1-29 0,-1 2-3 15,3 3-20-15,4 4 17 0,2 1-31 0,0 2 17 16,4 4-21-16,-2-1 6 0,6 5-9 0,-4-3 27 16,0 0-74-16,0-2-31 0,-3 0-73 0,0-1-62 15,-2-3-45-15,-1-1-37 0,-2-3-160 0,-1-3 100 16</inkml:trace>
  <inkml:trace contextRef="#ctx0" brushRef="#br0" timeOffset="71526.89">20010 3139 15 0,'8'2'163'0,"-1"2"12"0,-1 1-50 0,0 2-17 15,-3 0-2-15,1 2-29 0,-3 0-8 16,0 1 35-16,-1 0-16 0,-1 0-18 0,0 1-15 0,1-3-11 15,-2 0-16-15,2 0 16 0,0 0 48 0,2-1 24 16,0-2 19-16,3 1-35 0,3-1 4 0,5-2-38 16,1-2 9-16,4 1-35 0,1-4 16 0,1 2-30 15,2-2 20-15,-3-1-28 0,2-1 23 0,-1 1-30 16,-2-1-11-16,-1 1-73 0,-3 0-35 0,-2 0-78 16,0 1-79-16,-3 0-226 0,-9 2 18 0</inkml:trace>
  <inkml:trace contextRef="#ctx0" brushRef="#br0" timeOffset="72408.89">19939 3328 322 0,'0'0'279'0,"-4"-7"-68"0,4 7-53 0,0 0-33 16,-4-6-30-16,4 6-18 0,0 0-7 0,-15 5 31 15,6-1-9-15,0 0-15 0,-3 2-5 0,0 2-8 16,0-1 11-16,-2 1-28 0,3 1 18 0,-2 0-17 15,0 1-2-15,0 0-9 0,1-2 8 0,0 3-18 16,2-3 10-16,-3 2-35 0,4-3 7 0,1 1-1 16,2-2 22-16,-3 1-21 0,4-1 14 0,0-1-20 15,0 0 22-15,5-5-18 0,-7 6 30 0,7-6-21 16,0 0 12-16,0 0-28 0,0 0 12 0,16-5-16 16,-7 1 11-16,2-5-5 0,3 1 18 0,0-3-28 15,3 0 8-15,-1-1-24 0,1 1 40 0,0 0-30 16,-2 0 22-16,-2 3-26 0,0 1 23 0,-1 0-28 15,1 0 25-15,-4 3-29 0,4-1 15 0,-3 3-3 16,3-1 31-16,0 2-28 0,-2 1 21 0,3 1-20 16,-1 1 6-16,1 0 3 0,0 1 24 0,0 3-22 15,3-1 14-15,-1 2-15 0,1 2 31 0,1 0-27 16,0 2 26-16,0 1-25 0,0-1-45 0,0 1-58 0,-1 1-58 16,0-1-66-16,1 2-79 0,-3-3-190 0,-1 0 17 15</inkml:trace>
  <inkml:trace contextRef="#ctx0" brushRef="#br0" timeOffset="73557.03">22463 3955 64 0,'-9'2'407'0,"1"1"-129"0,8-3-51 15,-14 4-43-15,14-4-38 0,0 0-43 0,0 0-11 16,0 0-21-16,12 4-2 0,-1-4-12 0,6 0 6 16,2 0-17-16,9 0 4 0,-1 2-17 0,4-1-17 15,-2 0-67-15,6 2-73 0,-5 0-79 0,-3-1-277 16,3-1 33-16</inkml:trace>
  <inkml:trace contextRef="#ctx0" brushRef="#br0" timeOffset="74559.09">23291 3738 126 0,'0'0'232'0,"-9"-5"-72"0,9 5-24 0,-13 0-41 0,3 1-16 15,1 2 3-15,-2 1-11 0,-1 3-13 0,1 0-11 16,-2 2-12-16,5 2-1 0,-1 2 48 0,2-1-11 16,0 1-14-16,5 2 1 0,1-2 0 0,2 0 24 15,3 3-24-15,3-2 15 0,2 3 3 0,3-2 13 16,2-1-25-16,1-1 29 0,2-1 2 0,1-3 4 15,-1 1-26-15,3-3 38 0,-4-2 2 0,1-2-13 16,-3-2-14-16,1-1 12 0,-3-3 12 0,-1 0-12 16,3-3-14-16,-3-2-19 0,-1-3-13 0,-4-2-13 15,-1 1-5-15,-1-3-13 0,-3-2-3 0,-2 0 11 16,0 2-20-16,-4-2-1 0,-3-1-8 0,-5 1-1 16,0 3 2-16,-3-1-7 0,-3 4-46 0,-4 2-41 15,-7 0-47-15,2 5-66 0,-3 3-75 0,-4 2-93 16,-2 2-325-16,-7 6-207 0</inkml:trace>
  <inkml:trace contextRef="#ctx0" brushRef="#br0" timeOffset="159815.5">30490 14707 261 0,'0'0'237'0,"0"-9"-55"0,0 9 10 16,0 0-25-16,1-5 9 0,-1 5-16 0,0 0-9 15,0 0-14-15,4-7-12 0,-4 7-5 0,0 0-8 16,0 0-14-16,0 0 7 0,0 0-13 0,2-6-32 16,-2 6 9-16,0 0-9 0,0 0-15 0,0 0-6 15,0 0-12-15,0 0-2 0,0 0-4 0,0 0-6 16,0 0 2-16,10-4-9 0,-10 4 1 0,18-1 0 16,-6-1-2-16,4 1-3 0,2-2-11 0,2 2-7 15,4-1-15-15,2-2-41 0,-1 1-17 0,2-1-40 16,1-1-48-16,-1 2-42 0,0-2-37 0,4-3-292 15,-4 3-57-15</inkml:trace>
  <inkml:trace contextRef="#ctx0" brushRef="#br0" timeOffset="163848.25">21221 15537 143 0,'0'0'177'16,"0"0"-49"-16,-4-5-29 0,4 5-19 0,0 0-4 0,-7-6-12 16,7 6-10-16,0 0-7 0,-7-6-6 15,7 6-2-15,0 0-11 0,-9-2-7 0,9 2-8 16,0 0 0-16,-17 1-3 0,17-1-9 0,-14 4-5 0,5-1-2 16,2-1-1-16,-5 0-14 0,3 3 9 15,-2-3-3-15,-2 2 7 0,-1 1-4 0,-1-1 3 0,-1 0-3 16,1 1-1-16,-2 0 5 0,2 0 4 15,-2-1 7-15,1 1-10 0,0 0 15 0,2 0-7 0,-1 0 1 16,0 0-4-16,0 1 3 0,2-1 8 0,0 2-1 16,-1 1 10-16,1-1 0 0,1 3 6 15,0-2 2-15,1 3-7 0,2-1 15 0,-1 1 2 0,1 3 5 16,1 0-2-16,2 0 1 0,1 1 2 0,1 2 3 16,2 0 1-16,0-1-7 0,2 2 9 0,3-1-8 15,0 3-5-15,0 0-8 0,4 0-4 0,-1 1 1 16,3-1-7-16,0-1-1 0,1 1-10 0,-1 0 0 15,3-2-5-15,0 0 6 0,1 0-3 0,1-1-2 16,-1-3 9-16,0 1-10 0,2-3 7 0,-2 1-12 16,2-4 14-16,-2 0-14 0,1-4 15 0,0 3-10 15,0-3 5-15,0-2-12 0,0 0 16 0,-1-2-12 16,0-1 8-16,2 0 3 0,-2-1-2 0,2-1-4 16,1-1-1-16,0-1 1 0,-3-2-1 0,4 0 3 15,-2 0-2-15,-1-2 1 0,0-1-2 0,4 0 2 16,-4-3-3-16,1 1 2 0,0-2-6 0,-2 1 2 15,2-3 0-15,-1 2-11 0,-3-2 13 0,2 3-10 16,0-3 12-16,-3 1-11 0,-1 0 10 0,0 3-5 0,0-4 10 16,-1 3-13-16,-1-1 9 0,-1 0-9 0,1-2 13 15,-2 2-11-15,0-1 8 0,-1-1-13 16,2 1 14-16,-3-1-8 0,-2 0 5 0,2-2-9 16,-3 3 12-16,-2-3-2 0,1 1 21 0,-1-1-15 0,-3 0 9 15,1 1-4-15,-4-2 6 0,0 1 0 0,-2 0-4 16,-1 2-5-16,-1-1-1 0,-2 3-4 0,1 0-10 15,-4 1-24-15,1 2-9 0,-2 2-33 0,3 3-14 16,-2 0-34-16,1 1-26 0,-1 3-22 0,4 2-219 16,-3 2 159-16</inkml:trace>
  <inkml:trace contextRef="#ctx0" brushRef="#br0" timeOffset="167311.98">21918 16105 90 0,'0'0'186'0,"-8"-6"-34"0,8 6 0 0,-8-6-20 15,8 6-24-15,-6-7-13 0,6 7 14 0,-8-7-7 16,8 7-6-16,-8-7-18 0,8 7-10 0,-5-5-18 15,5 5-9-15,-4-5-12 0,4 5-7 0,0 0-7 16,-5-5-2-16,5 5-5 0,0 0 0 0,0 0-1 16,0 0-10-16,0 0 9 0,5 6-4 0,-5-6 3 15,14 5-1-15,-3-3 7 0,1 2-7 0,6-2 13 16,4 3-7-16,5-1 5 0,7-1-3 0,3 1 3 16,8 2-18-16,6-1 27 0,3 0-14 0,0-1 6 0,6 2-9 15,-2 1 11-15,13-2-10 0,-9 0 8 16,7 0-12-16,2 1 14 0,-9-2-13 0,11 0 12 15,-1 1-16-15,-10-2 13 0,0 0-10 0,0 1 14 0,-2-2-10 16,0 2 12-16,-1-2-16 0,-3 1 12 0,-2 0-16 16,0-2 12-16,-3 1-15 0,-9-1 14 0,-2 0-22 15,-1-1 23-15,-2 1-19 0,-6-1 15 0,-3 0-16 16,-4 0 19-16,-3 0-6 0,-1-1 17 0,-4 1-15 16,-1 0 18-16,-2 0-23 0,-1 0 15 0,-12 0-23 15,20 0-34-15,-20 0-66 0,14 0-28 0,-14 0-32 16,0 0-65-16,7 5-182 0,-7-5 123 0</inkml:trace>
  <inkml:trace contextRef="#ctx0" brushRef="#br0" timeOffset="169586.17">22937 15002 128 0,'-8'-2'135'0,"8"2"-23"16,0 0-27-16,0 0 4 0,0 0-7 0,0 0-12 16,0 0-17-16,0 0-9 0,-6-6-11 0,6 6-9 15,0 0-7-15,0 0 2 0,0 0-3 0,0 0-13 16,13-1 3-16,-13 1 4 0,0 0-4 0,15 1-2 16,-15-1 1-16,13 0-2 0,-13 0-2 0,15 1-3 15,-15-1 7-15,18 1-3 0,-18-1-2 0,23 1 0 16,-10 0-5-16,-1 1 5 0,3-2 0 0,-2 1 7 0,2 1-5 15,2-1 1-15,-1 0-6 0,2 1 6 16,1-1-2-16,0 2-4 0,-1-2 2 0,0 1 1 16,1-1 4-16,2 0-3 0,-1 1-1 0,-2-1-1 15,4 0-2-15,-2 0 2 0,1 0 5 0,-1 0-2 16,2-1-2-16,-2 0 2 0,2 0 2 0,1 0-2 16,-2 0-4-16,0 0 0 0,2 0 0 0,0 0 4 0,-2-1 1 15,2 1-3-15,-3 0 5 0,3 0-6 0,-1 0 2 16,0 0 2-16,-1 0-3 0,-1 0 1 0,1 0 1 15,2-1 1-15,-3 0 4 0,1 1-2 16,2-1 4-16,-1 0 0 0,4-2 3 0,0 1 17 0,0 1-5 16,-1 0-2-16,2-2 0 0,-1 2-7 0,-4-1-4 15,-1 1-2-15,2 0 0 0,-3 1-5 0,1-1 0 16,-2 1 1-16,1-1 0 0,-1 1-2 0,-1-1 1 16,1 1 1-16,-1-2-4 0,-2 1 2 0,1 1-3 15,-2-1-2-15,4 0 4 0,-2 1-2 0,1-1 0 16,1 0 5-16,-2-1-2 0,2 1 0 0,-1 0 2 15,3 0-3-15,0 1 2 0,-3-2-1 0,2 2 0 16,-1 0-3-16,-1 0 3 0,1-1 0 0,-1 1-2 16,2-1-2-16,-1 1 1 0,-1-1 0 0,1 1 2 15,-4 0-2-15,4 0 1 0,-5-1-3 0,4 1 6 16,-4 0-4-16,4 0-2 0,-4-2 0 0,3 2 2 16,-1 0 1-16,0 0-3 0,0 0 2 0,-2 0 3 15,4 0-1-15,-4 0-2 0,3 2 1 0,-3-2 1 16,5 1-5-16,-1-1 6 0,-3 1-6 0,2 0 6 15,2 0-9-15,-3-1 10 0,1 2-2 0,1 0-2 16,-2 1-1-16,0-2 0 0,2 0 0 0,-1 1 1 0,0-1 0 16,0 2 0-16,1-2-3 0,0 1 3 15,1-1 3-15,-2-1 0 0,2 2-3 0,-1-1 0 16,1-1 1-16,0 1-1 0,-1 1 0 0,3-2 0 0,-3 1 0 16,1-1-3-16,0 0 0 0,-2 1 0 0,2-1 2 15,-1 0 7-15,-2 1-8 0,1-1 5 0,-2 0-4 16,3 0 3-16,-1 1-4 0,-1-1 5 0,0 0-4 15,1 1 2-15,-1 1 0 0,0-2 1 0,-1 0-3 16,2 1 3-16,-2-1-6 0,2 0 4 0,-4 0-1 16,5 1 1-16,-4-1-2 0,5 0 2 0,-1 0-3 15,-1 0 4-15,2 0-2 0,-2 1-1 0,2-1 4 16,-4 0 3-16,3 0-9 0,-3 0 6 0,3 1-4 16,1-1-6-16,-3 0 10 0,3 1 0 0,-4-1-3 15,0 0 2-15,2 0 0 0,-2 2 1 0,1-2-4 16,0 1 3-16,-1 0-2 0,0 1 2 0,0-2-4 15,-1 1 3-15,3 0 0 0,-1-1 0 0,-3 1-3 16,4-1 3-16,-2 1 0 0,-1-1 2 0,2 1-6 16,0-1 5-16,-2 2-1 0,1-2 1 0,0 0-1 15,0 1-1-15,0-2 0 0,-1 2 8 0,2-1-9 16,-1 0 1-16,-1 0-1 0,1 0 5 0,-2-1-6 16,1 1-1-16,2 0 4 0,-5 1 3 0,4-2-2 15,-2 1 5-15,1 0 3 0,-1-2 2 0,0 2-2 16,0 0 2-16,-2-1-7 0,4 1 2 0,-2-1-1 0,1 1 1 15,-2 0-6-15,1 0 3 0,1 0-3 16,-2 0 4-16,4 0-5 0,-3 0 2 0,2 0-4 16,-2 0 5-16,1 0 0 0,-3 0 9 0,3 0-2 0,0 0 2 15,-1 0-1-15,-2-1 7 0,2 1-23 0,1 0 23 16,-14 0 1-16,20-1 9 0,-20 1-3 16,17 0-1-16,-17 0-9 0,17-1 3 0,-17 1-7 15,17-2 1-15,-17 2-5 0,14-1 3 0,-14 1-7 16,15-1 4-16,-15 1-5 0,12 0 0 0,-12 0-19 0,0 0-25 15,16 1-31-15,-16-1-14 0,9 3-35 16,-9-3-70-16,8 3-121 0,-8-3 228 0</inkml:trace>
  <inkml:trace contextRef="#ctx0" brushRef="#br0" timeOffset="171698.88">22848 15551 61 0,'0'0'165'0,"-2"-6"-40"16,2 6-29-16,2-7-16 0,-2 7-21 0,1-8-12 15,-1 8-5-15,2-6-10 0,-2 6-5 0,7-5-8 16,-7 5-1-16,8-4-5 0,-8 4-2 0,12-3 2 0,-12 3-9 16,13-2-13-16,-13 2 3 0,19-1-7 15,-19 1 0-15,21 0-4 0,-10 0 10 0,2 0-4 16,2 0 9-16,-2 1-2 0,4 0 0 0,-1 0-5 0,4 0 4 16,-3 2-2-16,1-1 7 0,3 0-6 0,-3 1 3 15,2 0 0-15,-1 0 7 0,2-2-9 0,-1 3 10 16,1-1-14-16,-1 0 12 0,2-1-2 15,-2 1 3-15,1-1-2 0,2 1 1 0,1-2 5 0,0 2-9 16,-1 0 14-16,0-2 2 0,0 0-4 0,1 1-8 16,-3 0 0-16,3 0 7 0,-2-1-5 0,0 1 3 15,-2-1-6-15,3 1 6 0,-2 0-5 16,-1 0 3-16,2-1-5 0,-1 1 6 0,4 0-8 0,-5 0 3 16,3-1-4-16,0 0-4 0,-2 1 5 15,2-2 10-15,1 1-12 0,3-1 7 0,0 1 0 0,-3-1 4 16,4 0-4-16,0 1-3 0,0-1-2 0,-1 0 8 15,3 0-2-15,-2 1 1 0,0-1-6 0,0 1 2 16,1-1-4-16,-2 2 3 0,-1-1 7 0,1-1-6 16,-3 1-2-16,0-1 0 0,-1 1-3 0,0-1 1 15,-1 0-6-15,1 0 9 0,-3 0 1 0,3 0-5 16,-2 0-2-16,0 0 6 0,1-1-2 0,-1 1-2 16,2-1 2-16,-3 1 4 0,3-1-1 0,1-1 8 15,1 1 6-15,0 0-3 0,2-1-6 0,1 2-2 0,-2-1 1 16,1-2-2-16,-1 2-1 0,1-1-4 15,-1 1 2-15,-2 0-1 0,3 0 5 0,-4 0 0 16,0 0-9-16,-3-1 8 0,3 1-9 0,0-1 8 16,-3 1-1-16,3 1-2 0,-2-3 4 0,0 3 1 0,1-1 1 15,-1-1 8-15,1 0-5 0,0 1 5 0,1 1-5 16,0-1 3-16,-2 0 7 0,1 0-4 16,1-1 0-16,1 2-6 0,-2-1 0 0,-1 1-4 0,0-1 0 15,0 1 2-15,-1-1-6 0,-1 0 3 0,2 1-4 16,-3 0 2-16,-1 0 0 0,0 0-2 0,0-1 1 15,-2 1-1-15,2 0 3 0,-2 0-6 0,3 1 0 16,0-1 6-16,0 0-4 0,1 0 1 0,0 2-2 16,-1-2 3-16,2 0 1 0,-2 1-1 0,3-1-2 15,-3 1 1-15,2-1 2 0,-1 2-4 0,1-2 8 16,1 0-9-16,-2 1 1 0,-1-1 4 0,3 0 3 16,-2 0-7-16,1 0 4 0,-2 0-1 0,0 0 2 15,3 0-2-15,-2 0 3 0,-3 0-1 0,2 0-3 16,0-1 1-16,1 1 2 0,-1-2-7 0,0 2 5 15,1 0 1-15,-1-1 0 0,1 1-3 0,-1-1 2 16,1 1 0-16,2 0 5 0,-3-1-9 0,2 1 3 16,-1-1 1-16,-1 1 5 0,1 0-1 0,-1-1-1 15,0 1 2-15,1 0 4 0,-3 0-2 0,0-2 4 16,0 2-6-16,-1 0 0 0,0-1 1 0,1 1-2 16,-1 0-3-16,0-1 2 0,1 1-2 0,0 0-2 15,0 0 4-15,0 0-3 0,0 0 3 0,1 0-3 16,-2 0-2-16,2 0 7 0,-2 1-6 0,2-2 0 0,-1 1-3 15,0 0 6-15,-3 1-5 0,2-1 6 0,0 1-6 16,-3-1 0-16,0 2 2 0,-1-2-2 16,-11 0 2-16,17 0 2 0,-17 0-2 0,15 0 18 0,-15 0 9 15,13 1 12-15,-13-1-9 0,0 0 6 0,14-1 1 16,-14 1 8-16,0 0-11 0,13 0 11 0,-13 0-13 16,0 0 3-16,0 0-11 0,7-4 4 0,-7 4-16 15,0 0 5-15,0 0-9 0,0 0 2 0,0 0-21 16,-1-6-21-16,1 6-65 0,0 0-48 0,-11 1-61 15,11-1-170-15,-12 2 167 0</inkml:trace>
  <inkml:trace contextRef="#ctx0" brushRef="#br0" timeOffset="173302.81">23024 16139 24 0,'0'0'82'15,"0"0"-8"-15,-5-6-27 0,5 6 5 0,0 0-23 16,0 0 11-16,-4-6-17 0,4 6 5 0,0 0-10 16,0 0-12-16,0 0 6 0,0-7 6 0,0 7-15 0,0 0 5 15,0 0-10-15,0 0 11 0,0 0-14 16,0 0 24-16,0 0-6 0,1-7 15 0,-1 7 1 16,0 0 37-16,13-1 2 0,-13 1-26 0,14-1-7 0,-2 0-7 15,-1 0-1-15,3 1 5 0,4-1 0 16,4-1-2-16,-3 2-3 0,5 0 0 0,4-1-8 15,2 2 3-15,0-1-7 0,2 0 3 0,6 2 5 0,2 0-7 16,-3-1 3-16,3 1-2 0,1 2-1 0,6 0-16 16,-2 0 21-16,4 0-9 0,-3 1-2 0,1 0 1 15,1 1-1-15,-3 0-6 0,2 1-1 0,-2 0-2 16,0 0 7-16,0 0-4 0,-2 0-6 0,3 0 1 16,-2-1 3-16,-7 0 1 0,1 0-1 0,0-1-4 15,-2-1 2-15,1 1 1 0,-2 0-6 0,0-1 6 16,1-1 2-16,-3 1 0 0,3-2-6 0,-3 2 6 15,3-1-3-15,-5-1 0 0,0-1 1 0,-1 0 4 16,2-1-2-16,-2 1 4 0,0-1 5 0,0 0 1 16,-2 0 0-16,1-1-2 0,-2 0 2 0,0 1 5 15,0-2-5-15,-2 1 10 0,-2-1 5 0,3 1-7 16,-1-2 5-16,-2 2-10 0,-2 0 6 0,1-1-12 16,-1 0 5-16,0 2-5 0,-1-1 9 0,1 0-11 15,-3 1 1-15,-1-1-8 0,-2 1 6 0,0-1-6 0,-2 1 8 16,1 0-10-16,-3 0 11 0,-11 0-9 15,19-1 7-15,-19 1-11 0,18 0 9 0,-18 0-6 16,14 0 5-16,-14 0-9 0,12 0 9 0,-12 0-5 16,0 0 11-16,16 0-11 0,-16 0 18 0,0 0 0 15,11-2 12-15,-11 2-2 0,0 0 6 0,0 0-9 0,11-1 7 16,-11 1-20-16,0 0 12 0,0 0-22 16,0 0 20-16,0 0-14 0,0 0 2 0,0 0-33 15,0 0-21-15,0 0-30 0,0 0-36 0,0 0-69 0,-10 1-271 16,10-1 73-16</inkml:trace>
  <inkml:trace contextRef="#ctx0" brushRef="#br0" timeOffset="174529.88">27631 16147 191 0,'0'0'221'15,"-5"-6"-23"-15,5 6-37 0,-2-6-38 0,2 6-16 16,3-6-19-16,-3 6 0 0,11-7-17 0,-1 2 10 16,1 0-14-16,3 2-6 0,4-2-8 0,0 1-1 15,5-2-15-15,3 3 18 0,2 0-7 0,-1-1 2 16,2 1-9-16,4-2 5 0,1 3-13 0,0 0-21 15,-3-1 16-15,-2 2-19 0,3-1 11 0,0 1-12 16,-3-1 11-16,2 0-17 0,-3 0 16 0,0 2-17 16,-5-1 14-16,-2 0-18 0,-2 1 16 0,-4 0-19 15,1 0 7-15,-2 0-31 0,-3 0 19 0,-2 1-40 0,-9-1-15 16,17 4-19-16,-17-4-6 0,6 6-39 16,-6-6-54-16,3 7-27 0,-6-1-153 0,1 0 179 15</inkml:trace>
  <inkml:trace contextRef="#ctx0" brushRef="#br0" timeOffset="174817.88">27636 16464 149 0,'-10'2'222'0,"10"-2"-36"0,0 0 8 0,0 0-13 15,15-3-27-15,-4 1-14 0,3-2-10 0,2-1-16 16,2 1-13-16,7 0-18 0,0-1-25 0,1 0 5 16,-1 0-13-16,3 0-7 0,0 2-7 0,-3 1-4 15,0-2-9-15,0 1-13 0,-4 2-3 0,-3 0-22 16,-1 1-6-16,-3 0-24 0,0 0-10 0,-3 0-10 16,1 1-7-16,-1 0-20 0,-11-1-12 0,15 3-6 15,-15-3-50-15,10 5 0 0,-10-5-179 0,6 4 202 16</inkml:trace>
  <inkml:trace contextRef="#ctx0" brushRef="#br0" timeOffset="180366.63">27768 10782 218 0,'-5'-11'362'0,"-1"4"-79"15,-2 0-56-15,-4 3-33 0,-2 1-24 16,0 2-29-16,-5 3 12 0,-4 2-23 0,0 3-8 0,-5 4 16 16,0 3-27-16,-2 6 16 0,0 1-11 0,3 5-29 15,1-1-5-15,2 2-33 0,5 1 2 0,2-3-12 16,3 2 0-16,1-1-13 0,4 2 5 0,4-4-12 15,0-1 1-15,5 2-1 0,0-1 4 0,5 0-5 16,-1-3-6-16,5 1 8 0,5 2-4 0,0-4-10 16,3 0 7-16,1-2-6 0,0-5 1 0,1-1 0 15,0-1 8-15,1-3-9 0,1-3-2 0,-1-2-10 16,1-1 14-16,-1-5-4 0,3-2 4 0,0-1-9 16,-1-5 6-16,1-2-12 0,-1-2 5 0,-2-4-20 15,-3-1 12-15,-1-1-13 0,-1-2 14 0,-4 2-14 16,-1 2 14-16,-1 0-7 0,-1 1 4 0,-3 2-4 15,-1 4 4-15,-2-1 0 0,0 5 0 16,-4-1-9-16,1 3 15 0,1 6-5 0,-8-5 10 0,8 5-13 16,0 0 7-16,-14 1 1 0,14-1-5 0,-6 7 7 15,6-7 4-15,-3 10-1 0,3-10 1 0,5 12 0 16,1-4 4-16,1-1-7 0,5 0 3 0,1 2-2 16,0-5 6-16,4 2-6 0,0 1 8 15,-2-4-9-15,4 1 9 0,0-4-11 0,-6 0 2 0,0 0 4 16,4-4 2-16,-6-1-1 0,3-2 0 0,-5-1-3 15,0-3-2-15,-1-1 2 0,-5-1 7 0,0-1-13 16,-4 1 12-16,-2-1-7 0,-3-1-27 0,-2 3-28 16,-2 3-56-16,-5 1-39 0,-1 5-92 0,-3 3-80 15,-6 3-311-15,-5 7-144 0</inkml:trace>
  <inkml:trace contextRef="#ctx0" brushRef="#br0" timeOffset="181454.38">28822 16315 244 0,'0'0'306'0,"-6"-8"-60"16,6 8-40-16,-3-11-27 0,6 5-37 0,1-1-9 15,2 0-58-15,3 0 22 0,6-1-38 0,1 1 7 16,5 1-47-16,4 1-17 0,2 2-21 0,2 0-39 15,2 2-64-15,-1 2-88 0,5 0-222 0,-5 3 100 16</inkml:trace>
  <inkml:trace contextRef="#ctx0" brushRef="#br0" timeOffset="182044.85">27569 16146 256 0,'0'0'199'15,"0"0"-41"-15,2-6-45 0,-2 6-18 0,13-7-23 16,-3 3-13-16,0 2-13 0,6-2-27 0,-1 1-21 16,3 0-17-16,-1-1-32 0,2 3-35 0,-1-1-51 15,0 1-93-15,1 0 75 0</inkml:trace>
  <inkml:trace contextRef="#ctx0" brushRef="#br0" timeOffset="182236.85">27521 16401 186 0,'-10'3'290'0,"10"-3"-78"0,-10 4-53 0,10-4-35 15,0 0-23-15,11 0-23 0,2-2-15 0,3 0-13 0,5 1-8 16,5-1-8-16,4-1-11 0,6 0-45 0,1 1-34 16,0 2-60-16,4 0-84 0,-1-1-103 0,1 0 239 15</inkml:trace>
  <inkml:trace contextRef="#ctx0" brushRef="#br0" timeOffset="183658.76">28623 10762 270 0,'-6'-9'239'16,"-1"3"-16"-16,-1 0-79 0,0 0-6 0,-1 1-51 16,-2 1 15-16,-3 2-35 0,2 1 16 0,-4 1-22 15,2 1 15-15,-2 1-41 0,0 2 11 0,3 1-29 16,-2 3 28-16,2-1-35 0,3 5 26 0,1-1-20 16,5 2 24-16,-1 3-4 0,4 0 3 0,2 1 21 15,2 1-12-15,2 2 0 0,1 0-5 0,3 2-7 16,3-2-10-16,-1 3-3 0,-1-4-3 0,1 1-3 15,-2 0-3-15,0-2-2 0,-2 0-1 0,1-4 0 16,-3 1-5-16,0-1 2 0,-2-3 8 0,-1 0-23 16,1-3 27-16,-3 1 7 0,-3-2 27 0,1-2-20 15,-3 2 17-15,-2-3-13 0,7-4 8 0,-14 3-20 16,14-3 8-16,-20-1-13 0,9-3 5 0,-1-2-14 16,1-1 9-16,0 0-17 0,1-3 12 0,1 2-18 15,0-2 12-15,-1 0-14 0,3 1 9 0,-2 2-10 16,2-2 8-16,0 2-7 0,-2 1-10 0,0 0 8 15,-1 1 8-15,0 4-9 0,-2 0 14 0,-2 1-14 16,0 1-2-16,0 1 6 0,-1 3 15 0,0 1-16 16,0 1 12-16,0 2-7 0,2 0 12 0,1 1-12 15,0 1-17-15,2 0-15 0,0-1-24 0,1 1-44 16,2 0 2-16,2-1-45 0,1 1 10 0,2-3-49 16,-1 3-14-16,3-4-97 0,3-1-147 0,-1 0 90 15</inkml:trace>
  <inkml:trace contextRef="#ctx0" brushRef="#br0" timeOffset="185665.07">28877 10696 67 0,'0'-8'253'0,"0"8"-68"16,0 0-7-16,0-10-56 0,0 10 31 16,1-6-43-16,-1 6 19 0,3-7-45 0,-3 7 15 15,1-7-27-15,-1 7 26 0,2-6-31 0,-2 6 23 16,0 0-23-16,2-8-4 0,-2 8 0 0,0 0-12 16,3-7-18-16,-3 7-14 0,0 0-14 0,0 0-11 0,0 0 1 15,0 0-4-15,0 0 6 0,0 0 6 16,4 12 17-16,-3-7 19 0,-1 6-13 0,0 0 21 15,0 2-19-15,-1 3 17 0,1 1-19 0,-2 0 17 16,2 1-16-16,0 3 3 0,-1 0-15 0,0-1 9 0,-2 0-14 16,3 1 10-16,-2 0-13 0,0-2 16 15,0 2-19-15,0-2 21 0,1-1-17 0,0 0 15 16,0-1-73-16,1-2-7 0,-2-1-59 0,4-3 7 16,-2 2 0-16,1-4-3 0,0 1-15 0,2-6-25 15,1 4-29-15,-4-8-281 0,9 2 60 0</inkml:trace>
  <inkml:trace contextRef="#ctx0" brushRef="#br0" timeOffset="185942.8">29043 10876 267 0,'4'-7'333'15,"0"1"-128"-15,-4 6-18 0,0 0-69 0,0 0 18 16,0 0-48-16,0 0 11 0,-6 5-36 0,3 2 16 16,1 0-17-16,0 3-9 0,0-1-8 0,0 4 24 15,2-1 1-15,3-2-6 0,0 4 19 0,2-3-29 16,1 2 10-16,3-1-22 0,-1-2 19 0,2 1-10 15,1-1 8-15,0-3-2 0,0 0 11 0,-1-2 4 16,1 0 8-16,-1-2-5 0,1-1-22 0,-11-2 6 16,18-3-21-16,-8 0 4 0,-2-5-17 0,0 2 7 15,-2-3-19-15,-3-1 4 0,1-2-8 0,-1 0 3 16,-3-1-10-16,0 0 15 0,-3 1-19 0,-1-1 5 16,-1-1-6-16,-2 4 6 0,-2 0-7 0,-2 2 7 15,1-1-31-15,-2 3-53 0,-1 3-16 0,2-1-63 0,-1 1-24 16,-1 5-81-16,3-1-35 0,-1 2-298 15,1-1-111-15</inkml:trace>
  <inkml:trace contextRef="#ctx0" brushRef="#br0" timeOffset="186722.64">29305 10624 187 0,'0'0'309'15,"0"0"-115"-15,0 0-25 0,0 0-68 0,0 0-1 0,0 0-47 16,0 0 28-16,0 0-43 0,-8 5 16 15,8-5-37-15,-6 6 46 0,6-6-30 0,-3 11 17 16,0-6-33-16,3-5 45 0,-3 13-23 0,3-13 19 0,2 12-16 16,-2-12 37-16,2 12-6 0,1-7 24 15,-3-5-7-15,6 11 22 0,-6-11-17 0,12 6 8 16,-12-6-18-16,11 3-6 0,-11-3-11 0,14 0-8 0,-14 0-17 16,16-3-5-16,-9-1-2 0,1-1-12 15,-1-1-1-15,1 0-1 0,-3 0-1 0,-1-2-10 0,0 2 3 16,2-3-4-16,-3 3-2 0,-2 1-29 15,-1 5-50-15,0-12-44 0,0 12-14 0,-9-4-75 16,9 4-50-16,-11-1-125 0,11 1-147 0,-14 2-32 0</inkml:trace>
  <inkml:trace contextRef="#ctx0" brushRef="#br0" timeOffset="186907.73">29741 10792 482 0,'14'-6'406'0,"0"2"-113"0,2-3-48 0,0 3-69 0,2-1-17 16,3 0-51-16,-2 1-49 0,0 1-94 0,1 2-49 16,-3-1-137-16,2 2-277 0,-5 0 9 0</inkml:trace>
  <inkml:trace contextRef="#ctx0" brushRef="#br0" timeOffset="187033.25">29819 10909 237 0,'0'0'384'15,"-9"6"-99"-15,9-6-54 0,0 0-39 0,8 3-40 16,-8-3-22-16,14 1-27 0,-4 1-47 0,4-1-71 16,0 0-81-16,4 0-93 0,4-2-274 0,0 0 57 15</inkml:trace>
  <inkml:trace contextRef="#ctx0" brushRef="#br0" timeOffset="187507.25">30504 10516 37 0,'10'-7'388'16,"-1"3"-89"-16,0 3-56 0,-9 1-36 0,18-1-28 0,-8 2-29 15,3 2-44-15,-3 1-1 0,3 4-28 16,0 0-3-16,-1 3-35 0,0 2 15 0,-2 1-24 16,1 2 15-16,-4 0-28 0,0-1 17 0,-3 2-19 15,-2-2 15-15,-2 1-16 0,-1 1 4 0,-3-1-9 16,-2-2 23-16,-3 1-27 0,-3-2 19 0,1 0-17 0,-2-2 13 16,1-3-20-16,-3 0 24 0,4-1-23 15,-2-4 19-15,0 1 30 0,1-3 14 0,12-1-19 16,-21-3 0-16,12 0-17 0,0-2 1 0,1-2-13 15,3-1 7-15,1-3-13 0,0 0-3 0,4-2 3 16,0-4-5-16,2-1 8 0,2-4-10 0,2 0 5 16,2-6-5-16,0 2 1 0,3-3-4 0,-2 1 2 15,1-1-6-15,-2 2 7 0,1 0-5 0,-3 4-12 16,2 2 8-16,-3 1 7 0,-1 3-6 0,-1 1 5 16,-1 4-14-16,-2 0 11 0,-3 1-15 0,-1 3 12 15,-3 0 1-15,-4 3-10 0,1 1 3 0,-3 3 9 16,-1 1 1-16,0 2-3 0,-2 2-1 0,0 2 0 15,0 1 6-15,2 1 3 0,-2 3-3 0,3 2 0 16,2 2-5-16,1-1 10 0,3 1-5 0,2 2 15 16,0-2-11-16,5 2-17 0,0-1-53 0,5 1-35 15,0-1-68-15,2 2-26 0,3-1-71 0,5-1-283 16,0-3-59-16</inkml:trace>
  <inkml:trace contextRef="#ctx0" brushRef="#br0" timeOffset="187811.25">31018 10420 342 0,'5'-5'322'0,"-5"5"-88"0,0 0-46 0,0 0-42 15,0 0-37-15,-6 5-22 0,1 1-15 0,-1 1-14 16,0 3-5-16,-2 1-11 0,3 1-4 0,0 1-6 16,3 0 8-16,0-1-18 0,1 3 37 0,1-2-27 15,1 0 16-15,2 2-27 0,2-1 38 0,0 0-22 16,0-2 16-16,3 0-22 0,-2-2 20 0,-1 0 10 0,-1-5 43 15,3 2-10-15,0-1-19 0,-7-6-15 16,12 3-13-16,-12-3-5 0,11-2-6 0,-3-3-7 16,-2-1-5-16,-2-2-8 0,1-3-3 0,-1-3 5 15,-1 0-11-15,-1-1-8 0,1-2 13 0,-3 0-3 16,-3 0 4-16,2 0-3 0,-3 1-3 0,2 1 0 16,-2 0 1-16,-1 1-5 0,-2 2-2 0,0 2 6 0,0-1-7 15,-2 4-45-15,0 1-42 0,-1 3-62 16,2-1-58-16,8 4-80 0,-14 0-377 0,14 0-174 15</inkml:trace>
  <inkml:trace contextRef="#ctx0" brushRef="#br0" timeOffset="188162.88">31560 10288 478 0,'17'-6'582'15,"-2"3"-79"-15,-4-1-60 0,1 0-68 0,-3 1-90 0,1 0-64 16,-10 3-53-16,15-3-36 0,-15 3-29 0,12 0-20 15,-12 0-14-15,8 7-12 0,-8-7-8 16,3 12-8-16,-1-4-17 0,0 2 5 0,-2 1-7 16,0-2 1-16,-2 3-4 0,0-1-5 0,1 0-23 15,0 0-27-15,-2 0 9 0,2-1-5 0,-2-1-26 16,2 1 11-16,-2-1 2 0,2-1 11 0,-1 0 8 0,0-2 4 16,-2 1-1-16,1-1 12 0,-4 1 3 15,2-1 0-15,-1-1 1 0,-1 1 0 0,2-2 4 16,0 0-4-16,0 1 3 0,5-5-7 0,-9 6 18 15,9-6-8-15,-6 7-1 0,6-7 0 0,-7 6-3 16,7-6-1-16,-6 4-6 0,6-4 6 0,-4 4 1 16,4-4 0-16,-4 7-2 0,4-7 18 0,-2 5-19 15,2-5-24-15,-3 6-10 0,3-6-20 0,-4 9-24 16,4-9-4-16,-4 7-4 0,2-1-42 0,-3-1 1 16,0-1-47-16,0 0-3 0,-2 2-37 0,-2-2-65 15,-1 0-245-15,1-2-36 0</inkml:trace>
  <inkml:trace contextRef="#ctx0" brushRef="#br0" timeOffset="188343.88">31390 10394 352 0,'0'0'387'16,"0"0"-95"-16,0 0-63 0,1-6-62 0,-1 6-39 15,0 0-28-15,0 0-20 0,0 0-95 0,0 0-72 16,8 6-113-16,-8-6-253 0,4 8 74 0</inkml:trace>
  <inkml:trace contextRef="#ctx0" brushRef="#br0" timeOffset="188493.88">31895 10538 259 0,'0'0'480'15,"19"-1"-85"-15,-19 1-75 0,14-3-66 0,-14 3-54 16,9-1-41-16,-9 1-42 0,0 0-35 0,0 0-57 16,10 1-74-16,-10-1-87 0,-2 6-83 0,-2-1-122 0,0 1-145 15,-3 0 27-15</inkml:trace>
  <inkml:trace contextRef="#ctx0" brushRef="#br0" timeOffset="188674.46">31129 10911 281 0,'-14'3'557'16,"14"-3"-130"-16,-13 1-94 0,13-1-54 15,0 0-38-15,11-3-29 0,1 2-72 0,6 0-17 16,3 0-23-16,2 1-14 0,5 0-53 0,0 0-28 16,1 1-69-16,1 1-49 0,-1 1-60 0,-1-2-86 0,-2 2-97 15,-2 0-223-15,-4 1-93 0</inkml:trace>
  <inkml:trace contextRef="#ctx0" brushRef="#br0" timeOffset="188818.44">31180 11069 100 0,'-11'3'519'0,"11"-3"-132"0,-11 4-70 0,11-4-47 16,0 0-35-16,11-3-28 0,0 2-32 16,5 0-36-16,0-1-34 0,7 1-13 0,0 0-28 0,5 0-34 15,0 1-52-15,0 0-55 0,2 1-91 0,-1-1-103 16,-1 1-393-16,-1-1-173 0</inkml:trace>
</inkml:ink>
</file>

<file path=ppt/ink/ink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0-16T05:06:40.393"/>
    </inkml:context>
    <inkml:brush xml:id="br0">
      <inkml:brushProperty name="width" value="0.05292" units="cm"/>
      <inkml:brushProperty name="height" value="0.05292" units="cm"/>
      <inkml:brushProperty name="color" value="#FF0000"/>
    </inkml:brush>
  </inkml:definitions>
  <inkml:trace contextRef="#ctx0" brushRef="#br0">9154 11271 167 0,'-1'-7'280'0,"-1"-2"-39"0,1 2-32 15,1-4-65-15,0 3 47 0,-1-4-56 16,2 2 24-16,-1-3-12 0,0 0 18 0,3 0-29 16,-1-1 12-16,1-2-4 0,-1 0-10 0,2 1-15 15,0 2-31-15,-2 2-9 0,1-1-18 0,0 3-16 0,-1 0-17 16,-2 3-5-16,0 6-11 0,4-7 3 0,-4 7-11 15,0 0 5-15,5 9-4 0,-2 2 2 16,-2 2-5-16,-1 4 8 0,0 3-6 0,0 5 1 0,-1 0-1 16,-1 4 1-16,1-1 3 0,1 6-1 0,0-2 1 15,0-2-6-15,0-1 1 0,0 1-1 0,0-1-4 16,1-1 2-16,1-1-3 0,-1-2 14 0,-1 1-25 16,4-1 18-16,-3-4-8 0,0-2 10 0,-1-1-8 15,3 0 6-15,-3-2-5 0,1-1 6 0,-1-3-5 16,3-1 7-16,-3-1-8 0,1 0 11 15,0-3-5-15,-1 0 12 0,0 0-11 0,0-7 20 0,0 11-8 16,0-11 10-16,0 8-38 0,0-8-67 0,0 0-44 16,0 0-53-16,0 0-55 0,-6 3-73 0,6-3-382 15,-8-4-193-15</inkml:trace>
  <inkml:trace contextRef="#ctx0" brushRef="#br0" timeOffset="370.13">9317 11246 274 0,'-12'-11'282'0,"-1"3"-43"0,-2 0-42 0,-1 4-39 16,-3 0-37-16,0 3-27 0,0 3-9 0,-7 3-42 15,3 4 20-15,0 0-37 0,-1 6 17 0,2 0-30 16,8 0 59-16,0 2-22 0,5 2 20 0,4 2-4 15,4 0 17-15,3 1 11 0,2 2-29 0,6 5 18 16,4-1-24-16,0 4 6 0,4 1-26 0,-1-4 8 16,1 3-27-16,-3-7 16 0,-2 0 4 0,0-1 3 15,-4-2-16-15,1-3 1 0,-4 0 22 0,-1-2 20 16,-2-1 37-16,-2-3 25 0,-2 0 19 0,-4 0-27 16,-4-2 4-16,-4 0-26 0,-4-1-4 0,-3-3-17 15,0-1-6-15,-4-3-11 0,-1 1-9 0,1-2-7 16,-3-1-9-16,-1-2-11 0,1 0 2 0,0 0-8 15,1-3 2-15,2 1-31 0,5 1-73 0,0-4-51 0,0 2-36 16,3-3-48-16,2 0-80 0,4-1-25 16,6 1-70-16,-1-1-387 0,8-3-293 0</inkml:trace>
  <inkml:trace contextRef="#ctx0" brushRef="#br0" timeOffset="1098.36">9403 11386 63 0,'14'-7'504'0,"-4"1"-182"0,-2 1-55 16,-8 5-85-16,13-2-1 0,-13 2-33 0,4 7-12 16,-3 0-23-16,-2 3-15 0,-1 2-21 0,1 4-7 15,0 1 40-15,-2 1-8 0,3 1-17 0,0 0-8 16,0 1-13-16,3 3-6 0,-1 0 16 0,2 0 8 16,0 0-31-16,1-2 4 0,3-1-20 0,-2 0 13 15,2-4-13-15,1 1 15 0,0-3-6 0,1-3 27 16,0 0-4-16,4-2 7 0,-1-3-28 0,2-1 10 15,-2-5-23-15,6-2 13 0,-5-2-24 0,4-4 15 16,-2-3-20-16,0-2 11 0,1-2-15 0,-1-5 6 16,-1 4 0-16,-3-1-9 0,-2 0 2 0,0 5-4 15,-3 0 13-15,1 2-8 0,-2 1-12 0,-2 1-7 16,1 2 3-16,-5 6-1 0,4-3 0 0,-4 3 1 0,0 0-3 16,5 6 3-16,-5-6-12 0,3 13 15 0,-2-5-12 15,3 1 13-15,0 1-9 0,1 2 12 0,1 0-10 16,3-1 18-16,0 2-10 0,0-1 17 15,4-1-13-15,-2-1 12 0,1 0-10 0,2-2 17 0,-1-1-17 16,0-1 17-16,-1-3-11 0,1-2 8 0,2-2-8 16,-1-2 6-16,3-4 2 0,-3 0-4 0,4-5-2 15,-4-2-3-15,2-2-7 0,1-2 1 0,-3 1-3 16,-1 2 0-16,0-1-3 0,-4 3 1 0,-2 3-7 16,2-1-10-16,-2 4-12 0,-1 2 8 0,-6 5 2 15,9-5 0-15,-9 5 2 0,6 10 1 0,-2-2-2 16,-4 6 7-16,3 3 32 0,-2 2 39 0,2 4 6 15,-1 0 3-15,-2 3-8 0,3 0-9 0,-2 1 56 16,2-1-19-16,-1 1-16 0,1-1-13 0,-2 1-9 16,3-5-10-16,-3-1-4 0,-1-2-9 0,3-1-5 15,-3-2 0-15,1-4 14 0,-1 1 69 0,1-2 87 16,-1-3 10-16,0-8-28 0,-1 10-48 0,1-10-9 16,0 0-41-16,-5-7-6 0,1-2-28 0,2-4-27 0,-2-5-77 15,1-10-7-15,2-5-54 0,-2-6-2 0,3-8-29 16,3-1 18-16,2 1 17 0,0 1 9 15,6 2 8-15,1 4 20 0,3 2 12 0,1 6 2 16,-1 6 14-16,-1 3 7 0,1 7 1 0,-2 3 13 0,0 4-8 16,1 2 19-16,-2 4-1 0,-12 3 7 0,19 0 3 15,-12 3-2-15,0 2 11 0,-1 4 0 0,-3-1 3 16,-2 3-8-16,-4 1 10 0,-3 2-1 0,0 3-1 16,-5 1 3-16,-3 0-1 0,-1 2 3 15,-4-1-2-15,-2 1 0 0,0 0-2 0,-2-2 1 0,-2 0-13 16,5-1-66-16,1-4-33 0,1-1-56 0,4-1-6 15,2-2-13-15,1-2 0 0,3-2-56 0,8-5-121 16,-9 4-57-16,9-4-391 0,0 0-340 0</inkml:trace>
  <inkml:trace contextRef="#ctx0" brushRef="#br0" timeOffset="1539.32">10509 11572 371 0,'23'-5'363'0,"-2"-2"-32"0,1-1-49 0,0 0-41 0,-2-1-3 16,-2 2-24-16,1-3-62 0,0 2-2 0,-2-1-44 15,-2 0 21-15,-3 0-39 0,-1 0 63 16,1 0-23-16,-3-1-28 0,-4 2-21 0,0-1-15 16,-1 1-18-16,-4 8-8 0,-1-12-10 0,1 12-13 0,-12-5 0 15,12 5-7-15,-23 4 1 0,9 1-18 16,-4 5 18-16,4 2-2 0,-2 2-2 0,3 2 4 16,0 2 44-16,4 0-18 0,3 2 13 0,2-2-17 0,2 1 9 15,4 0-19-15,2-1 13 0,2 1-19 0,2 0 8 16,3-2-6-16,-1-1 10 0,3-3-14 0,0-3 11 15,0-2-8-15,1-2 9 0,1-3-13 0,-1-3-8 16,-1-1-27-16,5-5-33 0,-3-1 0 0,2-6-34 16,1-3 0-16,1-3 5 0,1 0 10 0,-2-1-13 15,3 2 44-15,-2 0-23 0,-3 4 37 0,2 2-28 16,-1 2 33-16,-2 2-32 0,-2 3 38 0,1 3-24 16,-14 2 37-16,21 2 2 0,-15 3-2 0,3 1 7 15,-4 4-6-15,-2-2 0 0,-1 3 3 0,-2 0 4 16,0 1 0-16,0 0-2 0,-2-1 6 0,0 0 2 0,-3 0 15 15,1-1 27-15,2 0 23 0,-3-3 39 16,2-1 58-16,3-6 0 0,-6 9-33 0,6-9-26 16,0 0-23-16,0 0-14 0,-8-3-12 0,8 3-15 0,4-14-11 15,1 6-5-15,3-3-5 0,2-2-37 16,1-1-55-16,5-1-53 0,-2 1-67 0,5-3-92 0,0-1-69 16,2 0-111-16,0 0-373 0,0 0-370 15</inkml:trace>
  <inkml:trace contextRef="#ctx0" brushRef="#br0" timeOffset="1835.65">11518 11310 130 0,'0'0'412'0,"0"0"-153"0,4 4-30 16,-4-4-2-16,3 9-6 0,-1-3-10 0,-2 2-17 15,0 3-30-15,3 0 40 0,-2 2-68 0,3 2 3 16,-2 2 3-16,2 1-7 0,0-1-28 0,0 4-19 15,1-2-18-15,0 1-11 0,-1-3-9 0,2 1-9 16,-2-2-19-16,1 1 7 0,-1-3-18 0,-1-3 13 16,1 0-17-16,-2-2 79 0,-1 1 71 0,3-3 76 15,-4-7 14-15,5 8-50 0,-5-8-37 0,9 3-40 0,-9-3-22 16,13-7-17-16,-4 0-16 0,-1-2-11 0,-1-3-12 16,1-3-4-16,2-3-14 0,0 0-56 15,1-1-34-15,-1 0-42 0,-1 1-27 0,0-1-22 16,1 0-37-16,-1 1-53 0,1-1-32 0,0 3-42 0,-2 3-50 15,0-1-38-15,2-1-411 0,0 1-353 0</inkml:trace>
  <inkml:trace contextRef="#ctx0" brushRef="#br0" timeOffset="2014.62">11969 11260 139 0,'8'2'500'0,"-8"-2"-65"0,12 8-22 0,-5-3-20 16,-2 3-15-16,-1 1-57 0,1 2-17 0,-1 0-40 15,1 4-35-15,-2 0-55 0,-2 1-22 0,4 2-36 16,-2-1-13-16,-2 2-19 0,0-1-18 0,2 1-10 15,-2-1-8-15,0 0-5 0,1 0-6 0,-2-1-6 16,0-3-30-16,1 1-80 0,-1-3-31 0,0-2-22 16,-1 2 15-16,1-4 22 0,0-8-33 0,-2 11-60 15,2-11-92-15,0 0-30 0,-5-6-86 0,4-3-381 16,-2-5-297-16</inkml:trace>
  <inkml:trace contextRef="#ctx0" brushRef="#br0" timeOffset="2138.78">11969 11310 86 0,'-9'-31'453'0,"3"2"-93"16,-2-3 6-16,2 4-64 0,-3-1-39 0,0 4-24 15,3 3-35-15,-2 2-42 0,-1 2-43 0,-1 2-22 0,1 4-18 16,-1 4-20-16,1 0-12 0,1 5-64 16,8 3-28-16,-15-3-78 0,15 3-43 0,-12 6-89 15,8 1-66-15,2-2-277 0,2 1-112 0</inkml:trace>
  <inkml:trace contextRef="#ctx0" brushRef="#br0" timeOffset="2342.78">12151 11298 342 0,'9'9'338'0,"-3"0"-50"0,1-1 15 16,-2 0-19-16,0 3-75 0,-3-1 8 16,-2 2-42-16,3-1 10 0,-3 0-42 0,0 2-15 0,0-2-15 15,-3 0 6-15,2 3-16 0,-4-4-15 0,2 1-14 16,0-1-29-16,-1 1 14 0,-1-3-13 0,-3 2 0 16,-1-3-8-16,3 0-5 0,-2-2 3 0,0 0 0 15,-1-2-6-15,9-3-10 0,-11 4 5 0,11-4-49 16,-9-2-64-16,9 2-14 0,-3-9-70 0,4 3-33 15,3-2-48-15,3 0-7 0,2-3-24 0,2 0-35 16,2-5-248-16,5 0-81 0</inkml:trace>
  <inkml:trace contextRef="#ctx0" brushRef="#br0" timeOffset="2886.6">12293 11337 523 0,'23'-14'212'0,"0"1"-53"0,-3 1 29 0,-1 2-31 16,0-2 1-16,-2 3-30 0,2-1 43 0,-6 3-3 16,2-1 4-16,-4 0 5 0,-1 2-15 0,-1 1-37 0,0 0-30 15,-3 2-25-15,-6 3-11 0,9-5-17 0,-9 5-10 16,0 0-7-16,0 0-4 0,0 0-6 15,0 7 1-15,0-7 0 0,-6 12-6 0,2-6-5 0,-1 1-3 16,1 1 1-16,1-1 1 0,-3 1 1 0,5-1-5 16,-2 1 3-16,2-1-6 0,-2 0 6 0,2 0 4 15,1-7 1-15,1 11 3 0,-1-11-3 0,4 12 4 16,-4-12 2-16,10 7 1 0,-10-7 2 0,12 4-1 16,-12-4 4-16,16-1-3 0,-7-2-4 0,2 0-1 15,0-2-1-15,-1-5-2 0,1 2-4 0,0-3 1 16,-2 0-7-16,-1 0-2 0,-2 0 3 0,2 0-9 15,-6 0-4-15,2 2 8 0,-4 0-14 0,-1 3 16 16,-3-1-7-16,-5 0 16 0,0 4-3 0,-4 2 16 16,1 1-5-16,-4 1 16 0,0 2-20 0,-2 5 23 15,-3 0 2-15,3 4 5 0,4 1 3 0,-1-1-2 16,2 4 3-16,4 1 15 0,5-1-10 0,1-1 14 16,5 2-3-16,2-1 2 0,2 2-4 0,5 2-8 0,1-2-8 15,5 0-4-15,2-1-2 0,-2-3-7 0,3-2 0 16,-1-1-5-16,1-5-24 0,-1 0-45 15,-1-4-31-15,2-2-37 0,-1-2-25 0,2-5-52 16,-1-2 14-16,3-5-42 0,-2-4 9 0,3-6 25 0,-1-2 59 16,1-1-1-16,-1-2 96 0,0 2 44 0,-1 0 64 15,-1-1 39-15,-2 7 24 0,-3-1 39 0,1 2 1 16,-3 3 32-16,-1 2 10 0,-3 2-18 0,-1 3-44 16,0-1-41-16,-3 4-32 0,2 1-21 0,-2 0-11 15,-6 6-13-15,9-3-10 0,-9 3-6 0,9 1-5 16,-9-1-1-16,8 10-6 0,-5-3-2 0,1 1 3 15,0 1-3-15,0 2 1 0,1 2 1 0,0 2-4 16,1-2 4-16,0 1-5 0,0 0 5 0,1 2-10 16,-1-1-88-16,0-1-27 0,1 2-38 0,-2-2-61 15,-1 2-29-15,-2-2-100 0,0-2-47 0,-2 0-546 16,-2 1-506-16</inkml:trace>
  <inkml:trace contextRef="#ctx0" brushRef="#br0" timeOffset="3576.7">9730 12935 311 0,'0'0'404'0,"-19"0"-54"16,10 4-60-16,0 0-35 0,-2 4-52 0,0 1-7 16,2 2-4-16,-1 0-35 0,4 2-11 0,-2-1-33 15,6 1-7-15,-1 0 28 0,2 0 1 0,2-3-37 0,2 3 1 16,-1 1-27-16,5-4 6 0,-1 2-30 16,2-2 15-16,-2-2-14 0,0-2-3 0,2 2-18 15,0-4 11-15,-8-4-14 0,14 4 10 0,-14-4-15 0,14-4 9 16,-5 0-14-16,-3-4 9 0,-1 1-7 0,2-1-1 15,-1-2-4-15,-2-1-2 0,1 1-4 0,-1 0 3 16,-2 1-5-16,1 0 1 0,2 1-7 16,-5 0-10-16,4 3-10 0,0 0 0 0,-4 5 1 0,0 0 5 15,0 0 3-15,6 3 0 0,-5 3 0 0,2 4-10 16,-2 2 20-16,3 3-1 0,0 2 59 0,1 2-12 16,-1 3 1-16,3 0-4 0,1-1-5 0,-4 2-6 15,1-1 4-15,0-1-4 0,-2 0-3 0,3-4-6 16,-6 1 4-16,1 0-2 0,-1-3-2 0,-1 0-2 15,1-2 0-15,-4 1 1 0,-1-2-3 0,2-1 2 16,-4-2 8-16,1-1 3 0,-1-1 16 0,-3-1-6 16,1-2 2-16,-1-1-13 0,-2 0 3 0,12-3-15 15,-20-2-2-15,9 0 2 0,0 0 5 0,2-3-12 16,-1-5 5-16,1 2-39 0,3-5-13 0,2-1-23 16,1-1-7-16,3-1-41 0,2-1-10 0,3 0-58 15,1-2 25-15,3 1-20 0,1 1-13 0,-1-1-16 16,4 3-45-16,2 1-11 0,1-1-74 0,2 2-14 0,3-4-294 15,0 3-148-15</inkml:trace>
  <inkml:trace contextRef="#ctx0" brushRef="#br0" timeOffset="3821.25">10317 12916 446 0,'13'-7'380'0,"-3"4"-71"0,-3 1-91 0,-7 2-38 0,12-4-61 15,-12 4 3-15,0 0-8 0,11 4-16 0,-11-4-19 16,3 8-17-16,-3-8 4 0,1 11-25 0,1-4-8 15,-1 0-4-15,0 0-2 0,0 3-3 0,2 0 2 16,1-1 14-16,0-2-19 0,1 3 10 0,1-3-46 16,1 1-9-16,-1-1-52 0,3-3-1 0,1 0-57 15,0 0 15-15,1-2-35 0,0 0 56 0,2-1-9 16,-13-1 47-16,24-1-15 0,-12-2 41 0,0 1-17 16,0-1 40-16,1-1-21 0,-2 2 30 0,1-1-25 15,0-2 30-15,3 1-22 0,-3 0 4 0,0 1-40 16,-3-1-124-16,2 2-169 0,-2-1 193 0</inkml:trace>
  <inkml:trace contextRef="#ctx0" brushRef="#br0" timeOffset="4235.25">10473 13141 226 0,'-14'9'472'0,"1"-3"-96"16,3 0-32-16,2-2-42 0,-1 1-41 0,1-1-12 15,2 0-55-15,6-4-24 0,-4 5-48 0,4-5-7 16,0 0-33-16,16 2-1 0,-4-2-33 0,1-3 11 15,5 0-21-15,2-2 7 0,5-2-22 0,3-3 14 16,1-2-22-16,1-1-15 0,4-2-17 0,-1-3-13 16,2-3-2-16,-2 2-21 0,-1-2 32 0,0 2 0 15,-1 1-1-15,-7 5 6 0,0 0-1 0,-6 2 4 16,-4 4-5-16,0 2 3 0,-1 2 53 0,-13 3 6 16,18 3 2-16,-8 3 46 0,-4 5 3 0,1 1 10 15,-3 3 5-15,0 3 11 0,-2 1 2 0,2 2-17 16,-3-1-19-16,-1 2-8 0,1-1-14 0,-1-1-5 15,0 0-8-15,0-2-1 0,-1-1-12 0,1-2-7 16,0-2 14-16,-1-1 73 0,1-2 55 0,0-1 67 16,-1-2-21-16,1-7-42 0,-7 6-35 0,7-6-27 15,-5-4-27-15,1-2-15 0,2-3 0 0,-1-3-26 16,3-5-2-16,0-4-35 0,0-7-36 0,0-6-4 16,3-3-54-16,1-5 7 0,2-2-26 0,3-1-11 0,1 2-17 15,0 1-7-15,4 2-16 0,-1 4-11 16,1 3-16-16,-1 7-30 0,0 1-52 0,0 7-20 0,-2 5-24 15,-1 2-20-15,-2 7 27 0,-8 4-3 0,10-3-10 16,-10 3-16-16,4 8-35 0,-4 1-176 0,-2 2-47 16</inkml:trace>
  <inkml:trace contextRef="#ctx0" brushRef="#br0" timeOffset="4702.52">11001 12921 198 0,'-6'12'294'0,"3"-2"-42"16,0-1 41-16,3-1-33 0,4-3-43 0,1 2-28 15,3-3-30-15,3-1-22 0,2-2-14 0,5-1-24 16,1-1-18-16,7-2-13 0,3-3-14 0,4-3-8 15,6-1-7-15,0-2-10 0,-2-4-8 0,2 0 7 16,-2 1-19-16,0 1 8 0,-8 0 34 0,-3 2 13 16,-5 4 12-16,0-2-21 0,-6 5-13 0,-1-1-30 15,-1 4 17-15,-13 2 31 0,18 1 51 0,-12 4-13 16,-2 0-1-16,0 4-12 0,-1 1 0 0,-2 2-10 16,0 1-17-16,-1 0-4 0,0 4-11 0,1 1-6 15,1 0-6-15,-1 0-4 0,3 0-11 0,-2 0 6 0,1-2-5 16,2 1 6-16,0-3-9 0,2-1-15 0,0-1-66 15,3-4-28-15,3 1-56 0,0-5-15 16,1-2-21-16,1-3-20 0,2-2 1 0,3-4-39 0,3-1 16 16,-1-7 33-16,2 2 40 0,1-1 74 15,-2-1 64-15,-3 4 75 0,-3-2 103 0,-2 4 53 0,-1 0-20 16,-2 1-44-16,-3 3-34 0,-2 2-23 0,-7 3-13 16,0 0-19-16,0 0-6 0,0 0-7 15,-9 3-27-15,2 3 16 0,-5 1-3 0,-1 0-11 0,1 3-1 16,-6-2 2-16,1 3-6 0,-1-1 0 0,0 1-1 15,-1-3-21-15,6 1 10 0,-3-2-37 0,3-1 29 16,0-1-8-16,4-3-12 0,0 0-32 0,9-2 2 16,-14-2-7-16,14 2 13 0,-6-7 6 0,6 7 4 15,2-11 6-15,4 5 9 0,0-1 0 0,3 1-26 16,0 0 35-16,1 0-27 0,1 1 30 0,1 1-31 16,1 1 37-16,-2 1-30 0,0 0 43 0,1 2-3 15,-3 2 1-15,3 0 5 0,-1 1-29 0,-2 0-74 16,0 0-65-16,1 1-74 0,-2 0-23 0,0-1-72 15,-8-3-191-15,16 3-15 0</inkml:trace>
  <inkml:trace contextRef="#ctx0" brushRef="#br0" timeOffset="4840.52">11991 12987 1 0,'14'-9'523'0,"-1"2"-54"15,1-2-45-15,-1 1-19 0,2 1-22 0,-2 0-39 16,-2 1-74-16,2 2-57 0,-3 0-36 0,4 2 10 16,-14 2-17-16,22 1-20 0,-12 3-28 15,2 1-21-15,-4 2-2 0,2 2-20 0,-4 1-10 0,-1 1-10 16,-1 2-7-16,-1 1-16 0,-3 0-40 15,-3 3-125-15,0 0-103 0,-3 2-88 0,0 0-140 0,-4-1-536 16,-2-1-595-16</inkml:trace>
  <inkml:trace contextRef="#ctx0" brushRef="#br0" timeOffset="5414.52">15785 11060 496 0,'-15'6'419'0,"5"-1"-111"16,7 1-25-16,3-6-31 0,4 7-30 16,8-4-28-16,4 1-27 0,6 0-29 0,7-2-27 15,8 1-14-15,4-1-22 0,5 0-12 0,4-1-7 0,1 1-7 16,-1-1-46-16,-8 0-87 0,2-1-52 0,-5-1-114 16,3 1-88-16,-2-4-334 0,1 2-180 0</inkml:trace>
  <inkml:trace contextRef="#ctx0" brushRef="#br0" timeOffset="5978.68">17417 10674 102 0,'-6'-6'401'0,"6"6"-89"0,0 0-45 16,-11 7-11-16,3 4-21 0,-2 0-3 0,-1 6-24 16,1 2-34-16,-1 7 9 0,0 0-28 0,2 1 9 15,3 1-32-15,-1 0 8 0,4-2 14 0,0-2-9 16,3 1 18-16,4 1-13 0,0-3-3 0,2-2-8 16,2-1-16-16,1 0-14 0,4-4 11 0,0 1-2 15,1-2-14-15,2-3-4 0,0-3-6 0,0-3-17 16,3 1-14-16,-2-6-8 0,3-1-7 0,0-3-11 15,0-4-7-15,2-1-5 0,-3-5-21 0,1-3 15 16,1-4-4-16,-3-1-4 0,0-3-1 0,-4-1-2 16,-2-2-5-16,0 1 6 0,-4 1-9 0,-1 2 7 15,-2 1-8-15,-1 1 8 0,-1 4-5 0,-2 0 0 16,0 3-12-16,-1 1 9 0,-1 2-7 0,1-1 5 16,-2 3-1-16,-1 0 1 0,-1 3-5 0,0 0-18 15,-2 1-24-15,6 5-52 0,-9-5-32 0,9 5-9 0,-12-1-16 16,12 1-29-16,-11 5 1 0,11-5-15 15,-9 8-25-15,5-3-11 0,2 1-11 0,-1 1-22 0,2-1 16 16,1 1-49-16,0 1-21 0,1-3-291 0,-1-5-128 16</inkml:trace>
  <inkml:trace contextRef="#ctx0" brushRef="#br0" timeOffset="6384.68">17792 10775 56 0,'8'-7'468'0,"-2"3"-86"15,-1 0-74-15,-5 4-81 0,10-6-87 0,-10 6 14 16,10 3 7-16,-4 4-23 0,-1 0 24 0,-1 5 21 16,-1 2-37-16,1 1-6 0,-3 2-7 0,2 3 20 15,-2 0-23-15,1 1-20 0,-2-1-10 0,2 2 22 16,-2-2-22-16,0 0-17 0,0 0-15 0,0-2-16 16,0 0-3-16,-1-4-9 0,1-1-5 0,-1-1 1 15,1 0 40-15,0-4 87 0,0 2 62 0,0-10-16 0,-2 10-57 16,2-10-13-16,0 0-43 0,0 0-7 15,4-6-30-15,-3-4-12 0,2-1-16 0,2-3 3 16,5-5 0-16,-3-2-20 0,3 1 7 0,3-3-19 0,-2-1 6 16,1 6-16-16,-1 0 15 0,-1 3-14 0,-2 1 8 15,2 2-18-15,-2 3 11 0,-2 1-9 16,2 5 11-16,-8 3-7 0,15-1 10 0,-15 1-7 16,16 7-2-16,-7-1 5 0,-2 3-2 0,1 2 11 0,1 3-3 15,1 0 2-15,2 3-2 0,-3-1-14 0,2 1-50 16,-2 1-20-16,0 0-20 0,2-1-43 15,-2 0-19-15,-1-4-10 0,2 0-24 0,-3 1-25 0,-1-2 8 16,1-2-4-16,-1-1 9 0,0-1 35 0,-2-2 32 16,3 0-53-16,-7-6-17 0,12 5-47 0,-12-5-7 15,13-1-70-15,-4-4-216 0,-1-4-68 0</inkml:trace>
  <inkml:trace contextRef="#ctx0" brushRef="#br0" timeOffset="6639.69">18506 10756 440 0,'8'-12'369'0,"-3"0"-75"0,-1 5-64 0,-2-1-55 16,-2 8-35-16,-2-10-21 0,2 10-21 0,-8-6-21 16,8 6-5-16,-15 1-11 0,3 2-1 0,2 2 11 0,0 0-6 15,-1 5-10-15,0 0-13 0,2 2 22 0,2 1-9 16,0 0-11-16,1 4-4 0,3 0-5 16,-1 1 4-16,3 0 7 0,0 1-3 0,2 0-12 15,-1 0-4-15,0-1-6 0,3 0-4 0,-3 0-3 0,1-2 5 16,-1-3-7-16,0 0 2 0,-1-1-6 15,1-1 10-15,-2-1-2 0,1-3 7 0,-3 0-9 0,2-2 8 16,-5 0-13-16,7-5 14 0,-10 6-21 0,10-6 15 16,-11 2-12-16,11-2-27 0,-14 0-57 0,14 0-15 15,-12-2-73-15,12 2-42 0,-10-6-121 0,10 6-348 16,-6-7-188-16</inkml:trace>
  <inkml:trace contextRef="#ctx0" brushRef="#br0" timeOffset="7385.51">18582 10822 50 0,'7'-5'487'0,"-2"-2"-78"0,-5 7-65 0,8-6-95 16,-8 6-68-16,8-3-36 0,-8 3-34 16,0 0-21-16,5 3 14 0,-5-3 1 0,0 13 10 15,0-6 3-15,0 1-28 0,0 2-13 0,0 1-10 16,0-1 21-16,0 2 21 0,4-1-8 0,-2 1-7 0,1 0-2 15,1-1 15-15,2 1-7 0,-1-3-13 16,0 1-13-16,4-3-8 0,-4-1-2 0,3 0-10 16,0-3-10-16,-8-3-2 0,16 2-8 0,-16-2-4 0,17-4-8 15,-8 1-3-15,0-3 0 0,1-3 0 0,0 1-7 16,-1-3-1-16,0 0-4 0,-2 2-1 16,0-1 0-16,0 2-2 0,-2 1-3 0,0-1-12 0,-1 4-6 15,-4 4 2-15,5-7-1 0,-5 7 6 0,0 0 2 16,0 0-1-16,0 0 3 0,1 7-2 0,-1-7 3 15,1 11 3-15,1-4 1 0,0-2 0 0,2 4 4 16,0-1-4-16,1 2 4 0,0-3-3 0,3 1 8 16,-2 1-7-16,-1-3 9 0,3 1-2 0,-2-2 7 15,2 0-6-15,0-3-4 0,-8-2 2 0,15 3 3 16,-15-3-3-16,17-2 3 0,-7 0-4 0,0-2 6 0,2-1-7 16,-1-5 3-16,2 2-3 0,-2-5 0 15,3 1-4-15,-1-1 0 0,-4 2-1 0,2 1 0 16,-1 0 3-16,-3 3-3 0,0-1-7 0,0 3-10 15,-3 0 1-15,-4 5 3 0,8-4-3 0,-8 4 11 16,0 0-2-16,1 11 10 0,-2-4 13 0,-1 3 5 0,1 2 25 16,1 0-2-16,-2 2-7 0,0 2-2 15,1 1-7-15,0-2-2 0,1 2-11 0,-3-2 7 0,3 1-4 16,0-3-2-16,-2 1-2 0,0-4-3 0,2 2 1 16,-2-3 2-16,1 0 11 0,-1-2 43 0,1 1 63 15,1-8 8-15,-2 8-27 0,2-8-20 0,0 0-28 16,0 0-2-16,-15-2-16 0,10-5-2 0,3-2-10 15,-2-4-9-15,0-2-5 0,4-5-5 0,-1-5 0 16,2-2 1-16,2-7-71 0,4-6 7 0,2 0-10 16,3-2-1-16,2 4 8 0,1 3 5 0,3 3 7 15,-4 5 3-15,3 5 0 0,-2 1 4 0,-2 7 2 16,1 2 5-16,-3 3 0 0,0 5 8 0,-2 1-1 16,-9 3 3-16,15 3 6 0,-15-3-2 0,8 8 11 15,-6 1-1-15,-2 0 4 0,0 2-5 0,-2 1 7 16,-1 0-2-16,-2 4 0 0,0-3 1 0,-3 1 1 15,2 0 2-15,-1 1-2 0,-2-2-10 0,1-1-71 16,-2 0-17-16,3 0-18 0,0-1-33 0,-3 0-44 16,5-4-42-16,0 2-18 0,0-4 20 0,2 0-31 15,-2 0-23-15,5-5-82 0,5 6-27 0,-5-6-270 16,0 0-171-16</inkml:trace>
  <inkml:trace contextRef="#ctx0" brushRef="#br0" timeOffset="8087.59">19391 10794 255 0,'14'-7'434'15,"-4"2"-75"-15,3-3-75 0,-4 2-27 0,-3 0-54 0,4 0 41 16,-5-1-60-16,-1 4-14 0,-4 3-63 0,4-10 1 16,-4 10-43-16,-4-5 13 0,4 5-39 15,-13-1 19-15,3 3-1 0,0 2-10 0,0 1-11 0,-4 1-3 16,2 1-8-16,1 1-3 0,-1 2-3 0,3 1-4 16,-1 0 0-16,4 0-3 0,-1 3 0 0,1-3-13 15,1 2 14-15,1-1-11 0,1-2 13 0,2 1-13 16,1-1 10-16,0 0-5 0,0-3 13 0,4 0-10 15,0-1 12-15,-1-1-15 0,3-2 16 0,-6-3-23 16,13 4-15-16,-13-4-26 0,16-5-29 0,-4-1-11 16,0-1 5-16,0-2 12 0,1 0 10 0,1-2 10 15,0 1 0-15,0 0 9 0,-3 3 5 0,3-2 19 16,-2 4 7-16,-2 1 11 0,0 1 26 0,-10 3 13 16,17-1-4-16,-17 1-4 0,15 5-1 0,-8-2-25 0,-2 2 28 15,-1 3-9-15,0 0-7 0,-2 0 5 0,1-1 9 16,-2 0-12-16,1 1 6 0,-2-1-17 15,2 0 11-15,-2 0-14 0,0-7 9 0,1 11-16 16,-1-11 29-16,1 10 48 0,-1-10 68 0,0 7 53 0,0-7 19 16,0 0-42-16,0 0-40 0,5 5-26 15,-5-5-27-15,11-6-21 0,-5 2-12 0,3-2-8 0,-1-1-10 16,3-3-3-16,2-1-12 0,1-1-28 0,1-3-13 16,3-4-43-16,1 0 6 0,-2 0 2 0,2-1 19 15,0 1 0-15,-6 2 10 0,2 2 3 0,-2-1 3 16,-4 3 4-16,1 3 2 0,-1-1-3 0,-2 3-6 15,-1 0-6-15,-1 3 3 0,-5 5 1 0,8-5 2 16,-8 5 6-16,0 0 0 0,4 6 5 0,-3 1 9 16,0 2 0-16,-1 1 1 0,0 1 0 0,2 4 1 15,0 0 1-15,-1 1 0 0,3-1 1 0,-1 1 3 16,-1 1 3-16,3-2-4 0,-1 1 3 0,-1-1-2 16,1-3 2-16,-2 1 0 0,2-4 4 0,1 1 6 15,-2-2 0-15,4-1-5 0,-3-2-64 0,3 0-35 0,0-1-54 16,-7-4-1-16,17 1-38 0,-8-5-40 15,0-1 3-15,2-2-43 0,-1-4 38 0,3 0-6 16,1-4 64-16,-1-1-4 0,1 0 35 0,0 0 61 16,0 0 57-16,-1 2 50 0,1 1 70 0,-4-1 45 15,1 5 55-15,-4-2-39 0,2 4-12 0,-1 0-63 0,-2 1 0 16,-6 6-32-16,9-5 7 0,-9 5-32 0,0 0 16 16,12 5-8-16,-12-5-5 0,2 9-6 0,-2-1 0 15,0 0-6-15,-2 3 0 0,-1 2-1 0,0-1-10 16,2 2-90-16,-4 2-53 0,1-1-53 15,2-3-124-15,-1 1-61 0,1-2-341 0,-1-2-215 16</inkml:trace>
  <inkml:trace contextRef="#ctx0" brushRef="#br0" timeOffset="8219.56">20123 10707 16 0,'0'-21'539'0,"-1"2"-105"0,1-1-50 15,0-1-81-15,0 3-60 0,0 0-40 0,0 0-39 16,0 4-37-16,0 1-29 0,0 1-23 0,0 1-36 15,0 1-86-15,0 3-19 0,0 7-112 0,0-9-91 16,0 9-382-16,0 0-162 0</inkml:trace>
  <inkml:trace contextRef="#ctx0" brushRef="#br0" timeOffset="8790.08">18221 12031 213 0,'-2'9'483'16,"-2"1"-63"-16,-2 2-29 0,-5 6-55 0,-4 4-26 15,0 2-50-15,-6 5-41 0,-1-2-45 0,-1 3-24 16,0 2-31-16,1-1-21 0,0-1-16 0,-1 2-28 16,1-2 7-16,-1 0-26 0,5-2 13 0,0-3-23 15,1-2 6-15,2-3-87 0,1-2-26 0,3-1-43 16,-1-2-15-16,3-5-31 0,-1 0-6 0,2-4-77 16,1 0-26-16,7-6-61 0,-17 0-248 0,9-5-104 0</inkml:trace>
  <inkml:trace contextRef="#ctx0" brushRef="#br0" timeOffset="8950.09">17757 12326 513 0,'3'-18'450'0,"1"4"-47"16,0 0-18-16,-1 0-85 0,3 5-36 16,0 0-67-16,3 4 18 0,-1-1-26 0,2 4-8 15,-10 2-29-15,23 4-3 0,-10 2-35 0,3 1-10 16,-2 5-20-16,4 1-17 0,1 5-10 0,-1 1-12 0,1 2-5 16,-2 2-7-16,1-1-2 0,-3 2-31 0,1 1-72 15,-4-1-67-15,1-2-39 0,-4-3-49 0,0 1-49 16,0-2-42-16,-3-3-93 0,-2-1-336 0,0-4-257 15</inkml:trace>
  <inkml:trace contextRef="#ctx0" brushRef="#br0" timeOffset="9118.07">18312 12268 491 0,'17'-13'382'0,"2"3"-69"0,-1 1-49 0,0 5-34 15,-2 1-58-15,1 3 15 0,1 3-43 0,-3 1 4 16,2 4-60-16,-2 3 11 0,0 2-19 0,-3 4-11 15,-2-1-12-15,0 4-5 0,-3 0-14 0,-5 0 0 16,-1-1-42-16,-2 3-61 0,-4 1-23 0,-6 2-94 16,-3-2-49-16,-4 0-124 0,-2-3-250 0,-6 1-116 15</inkml:trace>
  <inkml:trace contextRef="#ctx0" brushRef="#br0" timeOffset="9353.08">17471 12223 76 0,'-30'11'525'16,"-6"7"-66"-16,0 2-30 0,-1 3-54 0,3 1-75 0,4 1-49 16,2 2 11-16,2 0-25 0,6 1 18 0,7-3-12 15,4 0-33-15,4-1 1 0,5 1-25 0,9 2-29 16,4 1-28-16,7 1-24 0,7 2-17 0,4-3-17 15,2-1-14-15,4-3-117 0,1-2-90 0,1 1-119 16,3-5-135-16,0-3-197 0,1-2-382 16,-2-4-575-16</inkml:trace>
  <inkml:trace contextRef="#ctx0" brushRef="#br0" timeOffset="9962.37">21039 10854 28 0,'-11'1'646'0,"11"-1"-117"0,-18 1-73 0,18-1-62 15,0 0-87-15,0 0-76 0,0 0-48 0,0 0-30 16,13-3-27-16,3 1-18 0,9 2-18 0,5 0-8 16,7 0 0-16,7 2-18 0,7-1-11 0,1 0-9 15,2 1-10-15,-3 1-11 0,0-2 3 0,-12-1 0 16,-4 1-53-16,-5 0-58 0,-3-1-66 0,-6 1-103 15,-2-1-85-15,-3 1-132 0,-3-1-278 0,-1-1-259 16</inkml:trace>
  <inkml:trace contextRef="#ctx0" brushRef="#br0" timeOffset="10657.36">22767 10395 417 0,'0'0'404'0,"-6"-9"-126"0,6 9-47 15,0 0-37-15,0 0 37 0,-12 8-15 0,8 2 4 16,-2 5-33-16,2 4-1 0,-1 4 6 0,1 1-33 15,0 1 4-15,3 4-15 0,-2 3-2 0,2 1-1 16,1 0-6-16,0-2-18 0,0-4-22 0,0 2-19 16,0-3-10-16,0-1-11 0,0 0-8 0,-2-6-8 0,-2 0 2 15,0-3 28-15,0-3 22 0,-2-1 7 16,-2-1 0-16,-2-4-1 0,2-4-14 0,-1-2-12 0,9-1-13 16,-20-3-8-16,11-3-24 0,1-6 8 0,-2-3 2 15,6-3-19-15,-1-4 6 0,6-3-3 16,5-9-19-16,2-4-28 0,5-4-6 0,5-2-1 15,5-4 0-15,1 1 3 0,6 4-5 0,-3 8 4 0,1 5 4 16,1 2 0-16,-1 3-4 0,2 5 16 0,-6 6-2 16,-1 3 2-16,-3 5 0 0,-3 2 4 0,0 4 0 15,-6 3 2-15,2 0-2 0,-5 4 2 16,-3 2-1-16,-3-1-3 0,-2 3 2 0,-5 3-1 16,-1 1 1-16,-8 1 0 0,-4 3 1 0,-5-1 4 0,-1-1-3 15,-6 2 3-15,2-4-6 0,4 1 6 0,-2-2-5 16,2 1 4-16,4-3-2 0,1 0 4 0,3-1-5 15,2 1 5-15,1-3-1 0,5 2 11 0,3-2 3 16,3 1 9-16,3 3-3 0,2-3-2 0,4 3-1 16,1 1 0-16,5-1-3 0,1 1 0 0,2 1-46 15,1-2-51-15,6 0-46 0,0 1-49 0,1-2-53 16,-3-2-39-16,2-1-62 0,0-4-10 0,0 0-80 16,-3-2-444-16,1-3-422 0</inkml:trace>
  <inkml:trace contextRef="#ctx0" brushRef="#br0" timeOffset="11060.01">23124 10791 279 0,'6'-4'373'0,"-6"4"-43"15,9-5-39-15,-9 5-26 0,9-8 5 0,-9 8-9 16,6-7-42-16,-6 7-44 0,7-8-21 0,-3 3-27 16,1-1-23-16,4 1-24 0,0 0-14 0,0-2-32 15,3 1 17-15,1 0-28 0,2-2 17 0,-2 1-8 16,0-2-2-16,1 2-7 0,-2-3-3 0,0 2-2 16,-3-3-5-16,0 1-3 0,-2-2-4 0,-1 4-2 15,-5-3-3-15,-1 4-16 0,-2-3 12 0,-5 3-16 16,1 2 14-16,-4 1-1 0,-3 2-4 0,0 2 2 15,-1 3 4-15,-4 1 1 0,5 4 27 0,-4 0-13 16,0 4 27-16,4 2 2 0,3 1 19 0,1-2 7 16,4 3-6-16,0 1 2 0,2 0-7 0,3 1-6 15,3-2-8-15,-2 1-10 0,4-2 6 0,2 0-10 16,0-2 0-16,2 0-1 0,0-4 1 0,4 0-9 16,-3-4 2-16,5-2-4 0,-2-1 2 0,0-2-3 0,4-2 0 15,-1-3-2-15,5-4-1 0,-1 1-2 16,-2-4-1-16,6-3-1 0,-1 1-5 0,-2 0-12 0,-3 1 7 15,-2 2-9-15,-3 0 16 0,-1 4 2 0,0-2-11 16,-3 5-4-16,-2 0 2 0,-7 4-6 16,11-1 12-16,-11 1 0 0,7 6 1 0,-7-6-1 0,1 14 2 15,-1-4 4-15,-1 2 3 0,-1 1-1 0,0 4 0 16,-1-1-9-16,2 0-89 0,-2 1-87 0,1 0-35 16,-2 0-48-16,0-2-38 0,2 1 19 0,-2-2-81 15,1-3-38-15,1 1-226 0,-1-4-133 0</inkml:trace>
  <inkml:trace contextRef="#ctx0" brushRef="#br0" timeOffset="11186.01">23455 10782 201 0,'2'-26'347'0,"2"-4"-104"0,1-1-3 0,-1 0-73 0,1 1-5 16,2 1-56-16,-1 4 4 0,-1 2-42 0,0 1 8 16,0 3-35-16,-1 3 6 0,0 1-118 0,0 1-80 15,0 5-26-15,-2 0-29 0,3 3-176 0,-1-1 162 16</inkml:trace>
  <inkml:trace contextRef="#ctx0" brushRef="#br0" timeOffset="12319.35">24273 10555 495 0,'-11'6'422'0,"1"0"-52"0,4-2-94 16,6-4-56-16,-7 7-46 0,7-7-35 0,8 4-29 15,2 0-15-15,2-2-24 0,2-1-15 16,5 0-11-16,1 1-5 0,2-2-5 0,5 1-5 0,-3-1-4 16,3-1-1-16,0-1-52 0,-5 1-28 0,-2 0-55 15,1-1-61-15,-2-1-50 0,-4 1-141 0,2 0-165 16,-6-1-28-16</inkml:trace>
  <inkml:trace contextRef="#ctx0" brushRef="#br0" timeOffset="14334.07">23644 10722 156 0,'0'0'369'0,"0"0"-119"0,0 0-63 0,-13 1-27 15,13-1 28-15,-5 8-5 0,1 0-15 0,3 1-22 16,-2 3-6-16,1 0-2 0,-1 3 13 0,3 2-22 16,-1 0-7-16,1 0-22 0,0 0-4 0,1-1-18 15,-1-2 3-15,0-1-20 0,1-1 5 0,1-1-13 16,-1 0 67-16,0-3 41 0,-1 1 60 0,0-9 30 16,0 9-46-16,0-9-43 0,0 0-31 0,0 0-27 15,0 0-30-15,11-5-8 0,-8-2-16 0,4-3-13 16,-1 0-5-16,3-2-8 0,3-4-2 0,0 0-6 15,-1 2-6-15,3 1 1 0,-4 0 7 0,0 3 1 16,0-1 1-16,-3 4-12 0,-1-2-6 0,1 6-1 16,-7 3 2-16,12-5 5 0,-12 5-5 0,9 5 2 15,-9-5-1-15,7 12 2 0,-3-4 1 0,-2 3-6 16,1 0-38-16,0 2-50 0,0 3-19 0,-2-2-32 16,4 0-39-16,-3 3 1 0,0-1-29 0,3-1 1 15,-2-1-8-15,1-1-11 0,-2-1-30 0,3-1 23 16,-1-2-27-16,-1 0 34 0,1-1-49 0,-2-3 8 15,3-2-285-15,-5-3-61 0</inkml:trace>
  <inkml:trace contextRef="#ctx0" brushRef="#br0" timeOffset="14969.07">24163 10775 290 0,'0'0'367'16,"-8"-4"-58"-16,8 4-29 0,-9-2-45 0,9 2-33 0,0 0-40 15,-13 3-31-15,13-3 22 0,-10 6 27 0,10-6-26 16,-6 7-11-16,6-7 1 0,-3 9 3 0,3-9-7 16,0 10-8-16,0-10-2 0,5 10-7 0,-1-5-14 15,-4-5-21-15,13 6-22 0,-13-6-1 16,15 4-12-16,-15-4-9 0,19-1-7 0,-7 0-6 0,1-2-3 16,-2-1 0-16,1-2-7 0,2-1-4 0,-3-1-1 15,1-2-3-15,-2 1-5 0,-4 1-2 0,1 1-5 16,-6-1-1-16,-1 1-3 0,-4 3-1 0,-2 0-1 15,-3 0-1-15,-4 4-3 0,2 0 1 0,-6 4-2 16,2 1 2-16,-2 2 0 0,0 4 0 0,2 0 2 16,2 3-1-16,-1 0-8 0,5 3 14 0,2 1-5 15,1-2 6-15,4 1-16 0,1 0 22 0,1-3-2 16,2 1 7-16,3 1-7 0,0-3 9 0,3-1-4 16,2-1 3-16,2-2-1 0,-1-1 5 0,3-3-6 15,1-2 2-15,0-2-7 0,0-2-20 0,2-2-37 16,-2-3 8-16,6-5-56 0,1-4 8 0,0-3 3 15,5-5-19-15,-1 0 12 0,-1-2 15 0,-1-1 21 16,2 2-20-16,-7 5 38 0,2 0-21 0,-6 3 40 16,0 3-3-16,-3 3 26 0,-1 1-35 0,-2 3 35 15,-2 1-32-15,-7 5 40 0,9-1-18 0,-9 1 60 16,7 6-4-16,-7 0 51 0,0 2-3 0,1 0-12 16,-2 3-11-16,1 0-9 0,0 2-1 0,-1 1 6 15,0-2 2-15,-2 2-7 0,1-1-12 0,-1-1-7 16,3-1-12-16,-2 0-1 0,0-3 2 0,1 1 44 15,0-2 80-15,1-7 6 0,-5 7-48 0,5-7-10 16,0 0-20-16,-11-4-14 0,6 0-13 0,0-5-11 16,3 0-10-16,0-5-7 0,0 0-1 0,2-6-13 15,0 0 10-15,4-5-11 0,-1-4 2 0,6-2-8 16,-1 0-8-16,2-5-34 0,4 3-30 0,-2 5-4 16,2 2-36-16,1 2-1 0,-1 4-14 0,2 4-38 0,-2 5-8 15,0 1-27-15,0 4 0 0,-2 4 0 16,1 0-39-16,-2 5 14 0,0 0-35 0,-1 5 2 15,-1 2-48-15,-1 1 10 0,-3 1-45 0,-2 0-208 16,-3 1-49-16</inkml:trace>
  <inkml:trace contextRef="#ctx0" brushRef="#br0" timeOffset="15288.08">24613 10723 304 0,'-16'8'335'0,"4"0"-2"16,0 0-21-16,3-4-5 0,0 2 9 0,0-1-9 16,9-5-58-16,-9 5-61 0,9-5-39 0,0 0-29 15,7 6-29-15,-7-6-14 0,16 1-11 0,-4 0-16 16,2-1-13-16,2-1 0 0,1 0-11 0,2 0-3 0,3 0-4 15,-4-1-4-15,1 1-3 0,-5 0-2 16,1 0 0-16,-4 1-7 0,1-1-3 0,-12 1 2 16,13 0-4-16,-13 0 2 0,0 0-3 0,0 0 4 0,-2 6-3 15,2-6-3-15,-13 7-2 0,5-2 2 0,0-1-3 16,2 3-1-16,-2 0 4 0,1 0-2 0,2 2 1 16,-2-2 3-16,3 1 4 0,-1 0 49 0,4-1 11 15,-2 2-7-15,3-3 24 0,0 1-2 16,2 0 0-16,0-2-6 0,-2-5 6 0,9 10-11 0,-4-7 0 15,-5-3-15-15,17 3-5 0,-17-3-6 0,15-1-6 16,-3-3-5-16,-5 1-2 0,2-5-4 0,-1 2-6 16,2-5-1-16,-1 2-53 0,-1-2-4 0,-3 2-39 15,1-2-53-15,-2 1-21 0,-1 0-23 16,-1 2-49-16,-2-1-45 0,0 2-25 0,0 0-30 0,-2 1-57 16,0 0-296-16,2 6-187 0</inkml:trace>
  <inkml:trace contextRef="#ctx0" brushRef="#br0" timeOffset="15563.07">24968 10735 54 0,'10'3'316'0,"-1"1"-42"0,0 1-61 0,-1-1-6 16,-1 2-60-16,0 3 20 0,0-2-48 0,-3 4 7 16,3-2-52-16,-5 2 9 0,3 0-40 0,-2 1 18 15,-2 0-33-15,2 0 17 0,-2-1-27 0,-2 1 20 16,-1-3-27-16,1 2 30 0,-1-2-14 0,-2-1 48 15,-1-2-16-15,-2 0 17 0,3-1-18 0,-3-1 19 16,7-4-3-16,-12 3-13 0,12-3 11 0,0 0-21 16,-15-1 0-16,15 1-12 0,-8-5 3 0,8 5-23 15,-2-8 20-15,2 8-23 0,2-10 3 0,1 3-1 16,1 1-3-16,3 0-6 0,1 0-35 0,0 0-30 16,4 0-22-16,0-1-12 0,1 1-52 0,1 1 0 15,1 0-67-15,0-1 0 0,1 3-72 0,0-3-259 16,2-1-48-16</inkml:trace>
  <inkml:trace contextRef="#ctx0" brushRef="#br0" timeOffset="16323.08">25507 10714 205 0,'0'0'308'0,"2"-6"-60"0,-2 6-24 0,-4-4-32 16,4 4-32-16,-11-2-27 0,11 2-23 15,-17 3-23-15,6-1-3 0,0 2-11 0,-1 2-8 16,-1 1-15-16,1 0-8 0,1 1 3 0,1 2 27 16,0 1-36-16,2 0 14 0,1 1-27 15,0 1 19-15,2-1-26 0,0 1 17 0,4-1-16 0,0 0 13 16,1 0-12-16,2 0 13 0,-1-1-17 0,3 1 7 16,1-3-67-16,2 1-8 0,-1-2-65 0,3 1 5 15,1-3-41-15,-1-1 34 0,2-2-24 0,1 0 36 16,0-3 6-16,2-2 5 0,0-1 13 0,1-2 18 15,1 0 9-15,-4-3 0 0,4 0 78 0,-2-2 44 0,-2 2 73 16,1-2-1-16,-4 2 50 0,3-2-33 16,-6 2 8-16,2 1 2 0,-1-1-18 0,-3 2-27 15,1 0-28-15,-1 0-17 0,-4 6-18 0,7-7-13 16,-3 2-11-16,-4 5-8 0,5-7-13 0,-5 7-1 0,6-4 6 16,-6 4 6-16,0 0-5 0,10-2 6 0,-10 2 5 15,14 1 2-15,-14-1-7 0,17 0-1 16,-17 0 3-16,21-1-7 0,-8 1 2 0,-2-2-4 0,1-1 2 15,0 0-1-15,-1-1-8 0,2-1 3 16,0 0-2-16,0-3-2 0,-2 1-5 0,2-2 6 0,-4 1-5 16,-1-2 3-16,-2 2-6 0,-1 1-3 0,-4-1-2 15,-1 1-4-15,-2 1 0 0,-6 0 0 16,0 3 4-16,1-1-5 0,-3 3 5 0,10 1-6 0,-18-1-24 16,9 3 30-16,-3 1 0 0,5 0 3 0,-1 3 0 15,-1 0 6-15,3 0-4 0,-1 1 3 16,3 2 9-16,0-2 16 0,2 0-1 0,-1 0-4 0,3 0-1 15,0 1-3-15,0-8 0 0,3 13-1 0,-3-13-20 16,6 9 14-16,-2-5 5 0,3 1-15 0,-7-5 13 16,14 5 1-16,-14-5-7 0,16 1-2 15,-16-1 8-15,23-2-5 0,-11-1-6 0,0-1 0 0,3 1 5 16,0-2-3-16,0 2-2 0,-1-3-4 0,-1 2 0 16,-1 0-2-16,0 2 1 0,-3-2 0 0,-1 2-5 15,-8 2-10-15,15-4 9 0,-15 4-4 16,13-5 4-16,-13 5 2 0,13-1 2 0,-13 1 1 0,10 1 1 15,-10-1 0-15,15 4 4 0,-6-2 0 0,0 1 0 16,-1 1 1-16,5-2-1 0,-2 0 0 0,3 1-3 16,0 0 8-16,4-1-5 0,-6 1 3 0,6-2-2 15,-4 1-2-15,2-1 0 0,0-1-1 16,0 0 3-16,-3 0 1 0,4-1 0 0,-3-1 1 16,-1 1-1-16,1-2-42 0,-3 2-9 0,2-1-30 0,-3 0-9 15,-1 0-19-15,-9 2-39 0,17-2-54 0,-17 2-55 16,13-1-36-16,-13 1-29 0,10-2-214 0,-10 2-35 15</inkml:trace>
  <inkml:trace contextRef="#ctx0" brushRef="#br0" timeOffset="16815.36">26743 10475 264 0,'10'-15'357'0,"-1"2"-56"0,0-2-19 0,1 3-17 16,-3-1-36-16,0 0-16 0,1 1-18 0,0 1-22 15,-2 1-8-15,-1 2-36 0,-1 1-24 0,1 0-36 16,-5 7-9-16,7-6-19 0,-7 6-5 0,0 0-11 15,0 0 43-15,3 11-21 0,-6-1 3 0,0 4-18 16,-1 2 11-16,-1 4-8 0,1 2-3 0,0 1-9 16,-2 1-3-16,-2 6-13 0,3 0 16 0,-2 0-1 15,-2 3-2-15,1-1-1 0,0-2-14 0,-1 2 11 16,-1-2-77-16,-1 0-10 0,2-2-47 0,-3-2-39 16,3-1 0-16,2-4-56 0,0-2 8 0,1-3-20 15,1-2-3-15,2-1 7 0,1-3 18 0,2 0-23 16,1-5-182-16,-1-5 131 0</inkml:trace>
  <inkml:trace contextRef="#ctx0" brushRef="#br0" timeOffset="17434.18">26758 10926 327 0,'13'-10'191'0,"1"3"33"0,0-3-44 16,3 1-2-16,-2-2-33 0,2 1 19 0,0 1-43 15,-1-1 28-15,-2 2 12 0,1-1-28 0,0 1-23 16,2 0-26-16,0 0-4 0,0 2 4 0,-1 0-21 16,5 0-10-16,-2 0-11 0,0 1-4 0,1 0-10 15,2 1 0-15,-1-1 2 0,-1 0 17 0,-1 1 13 16,-1-2-7-16,1 1-13 0,2-3-2 0,-5 0-9 15,1 2-27-15,-4-4 29 0,0 2-9 0,-3-2-4 16,-3 1-10-16,-1-1-3 0,-5 3 0 0,-4-4 1 16,-2 4-9-16,-4-2 3 0,-5 2-1 0,-1 1-5 15,-4 2 4-15,-2 0-3 0,1 3-1 0,-1-1-2 16,-2 4 2-16,3 0-3 0,-2 3 1 0,-1 1-19 16,5 0 27-16,0 4 3 0,4-2 3 0,2 3-4 15,3-2 15-15,0 3 13 0,2 0 18 0,3-1 7 16,3 1-6-16,1 1-5 0,3-2-15 0,4 4 12 15,0-3-19-15,3 1 18 0,1-1-16 0,2-1 20 16,5 1-25-16,-1-3 14 0,1 0-17 0,0-5 11 16,-1 1-18-16,0-2 12 0,2-2-19 0,2-2 18 15,-3-3-16-15,3-2 8 0,0-1 10 0,-1-4-9 16,-1 2-2-16,-1-4-2 0,0 3 0 0,-3 0-2 16,-2-1 1-16,-4 3-5 0,1-1-3 0,-3 1-1 15,-1 1-1-15,-3-1 0 0,-3 8-4 0,4-10 2 16,-4 10-4-16,0-8 2 0,0 8 5 0,0 0-2 0,-4-5-3 15,4 5 0-15,0 0 5 0,0 0-5 16,-7 2 4-16,7-2 0 0,-2 7 1 0,2-7 2 16,-2 9-1-16,2-9 4 0,4 8 0 0,0-2-2 15,-1-1 1-15,2-1-1 0,1 1-4 0,2 0-22 16,0-1-1-16,1-2-10 0,1 0-1 0,0 0 3 0,-10-2 1 16,20 0-8-16,-7-3 4 0,-2 1 11 15,1-2 5-15,-2 1 3 0,1-3 3 0,-1 1-2 16,-1 0 9-16,-1 0-5 0,0 0 5 0,-3 2-2 15,-5 3-6-15,11-6-7 0,-11 6 6 0,0 0 3 16,8-2 4-16,-8 2 0 0,0 0 13 0,-2 8 6 16,2-8-5-16,-4 12 0 0,2-5 6 0,-1 4 5 15,1-2-8-15,0 4 11 0,0-2-10 0,-1 3 8 16,3 1-13-16,-2 2 15 0,0 0-21 0,2 0 22 16,-3 0-16-16,0-2 18 0,3 1-62 0,-1-1-50 15,-2 1-44-15,2-1-113 0,-2-4-69 0,1 3-453 0,-1-2-285 16</inkml:trace>
  <inkml:trace contextRef="#ctx0" brushRef="#br0" timeOffset="19850.78">9969 13984 335 0,'0'0'392'0,"0"0"-72"0,-7-4-48 0,14 2-65 16,9-3-13-16,9 1-26 0,17-6-11 0,13 2-35 15,21-6-5-15,7 3-23 0,10-1-15 0,9-2-17 16,21 1-6-16,6-2-8 0,5 1-7 0,4 1-37 15,3 1-34-15,-1 0-51 0,5 0-45 0,2 2-66 16,4 0-47-16,2 0-390 0,3-2-141 0</inkml:trace>
  <inkml:trace contextRef="#ctx0" brushRef="#br0" timeOffset="20272.82">17826 13205 337 0,'2'7'373'0,"0"-1"-86"0,3-1-27 16,3 0-55-16,5 0-1 0,2-1-53 0,6 0-7 0,5 0-39 16,8-1-7-16,4 2-28 0,9-1 8 0,3 0-46 15,5 0-39-15,4 1-80 0,2-2-38 0,1 1-129 16,10-2-332-16,-8-1-98 0</inkml:trace>
  <inkml:trace contextRef="#ctx0" brushRef="#br0" timeOffset="21101.76">22461 12058 143 0,'8'-4'341'16,"-8"4"-74"-16,11-7 3 0,-6 3-76 0,-5 4 2 0,9-7-52 15,-9 7-5-15,6-11-51 0,-6 11 2 0,1-10-34 16,-6 5 13-16,1-1-13 0,-1-1 12 0,-2 0-31 16,-2 2 10-16,-1-3-26 0,-1 2 9 15,2 1-28-15,-1 1 18 0,1 1-23 0,0 1 13 0,-2 0-19 16,11 2 16-16,-20 2-21 0,9 2 21 0,-1 1-22 16,1 5 23-16,-4 3-22 0,0 4 3 0,0 5 7 15,0 3 35-15,-2 7 8 0,1 4 3 0,-1 5-1 16,4 2-7-16,-1 2 10 0,-1 11-16 0,0 0 18 15,0 2-3-15,2 2 1 0,-2 0 0 0,0 0 0 16,2 0-8-16,-1 1-17 0,1 3 39 0,2-1 9 16,-2 1-19-16,4-1 3 0,0-2-21 0,2-8 19 15,2-2-22-15,-2 0 39 0,3-1-19 0,0-3 9 16,2-2-3-16,-1-1 18 0,3-8-1 0,-1-2-9 16,2-5-6-16,-1-1-15 0,3-4 0 0,-2 1-7 15,4-3-6-15,-1-3-1 0,1-2 0 0,5-3-2 16,-1-2-5-16,4 0 0 0,4-4-1 0,-2-1-25 15,6-4-54-15,0-2-52 0,7-3-69 0,4-3-79 16,9-6-42-16,0-2-105 0,5-3-390 0,9-6-324 0</inkml:trace>
  <inkml:trace contextRef="#ctx0" brushRef="#br0" timeOffset="21813.76">25473 12078 4 0,'-7'-10'440'0,"0"1"-47"0,0-1-95 0,1 0-33 0,1-1-51 16,0 1-11-16,1 0-27 0,0 0-28 0,1 1-31 15,2 0-26-15,1 1-23 0,1 1-14 0,2 0-13 16,3 0-4-16,1 0-11 0,2 3-3 0,2-1-5 16,1 3 3-16,2-1-8 0,0 3 9 0,2 0 0 15,2 3 4-15,0-1 4 0,3 5-15 0,-1 1-4 16,2 2 2-16,-2 5 1 0,3 0 5 0,-2 5 8 16,-2 2 9-16,1 7-2 0,-2 6 20 15,-2 2-2-15,-4 4-7 0,-1 6-12 0,-4 2 16 0,0 4-6 16,-2 3 17-16,-3 1-5 0,-2 0 29 0,0 2-12 15,0 10-3-15,-5-2 13 0,3 0-9 0,-1-1 20 16,-1-1 0-16,-1-9-15 0,3-1-2 0,-1-2 16 16,-2-2-3-16,1-4-17 0,-2-2-5 0,-1-4-15 15,2-6 2-15,-4-6-16 0,2 1 3 0,-2-6 4 16,-2-3-5-16,0-4-8 0,-2-3 3 0,-2-4-3 16,-2-3-51-16,-2-3-64 0,0-4-78 0,-7-3-65 15,-6-5-69-15,-5-4-147 0,-4-5-132 0,-1-4-342 16,-9-10-486-16</inkml:trace>
  <inkml:trace contextRef="#ctx0" brushRef="#br0" timeOffset="22504.86">24127 11507 297 0,'9'-5'286'0,"-3"0"-11"0,1 1-6 0,-7 4-63 16,7-4-62-16,-7 4-30 0,9-4-16 0,-9 4 20 16,0 0-2-16,-4 7-16 0,-2-1 22 0,-2 0-13 15,-2 4-18-15,-5 2-9 0,-2 1-8 0,-2 2-13 16,-4 2-9-16,2 0-11 0,0 0-5 0,-1 1-2 15,0 0-8-15,1 1-2 0,-2-1-6 0,0 0 3 16,1 0-3-16,-1 0 5 0,0-1-7 0,0-1-54 16,1-1-61-16,2 1-30 0,1-4-80 0,2-1-35 15,-1-1-106-15,5-2-212 0,-2-2-77 0</inkml:trace>
  <inkml:trace contextRef="#ctx0" brushRef="#br0" timeOffset="22700.86">23645 11607 175 0,'0'-6'450'0,"3"-1"-117"16,-3 7-79-16,2-7-70 0,-2 7-35 0,0 0-6 15,13 0 2-15,-3 3-7 0,3 4-19 0,2 4-16 16,1 3-27-16,4 4-6 0,1 1-21 0,3 5 3 16,0 1-19-16,-1 3 6 0,1-2-12 0,-2 3 8 15,1-1-25-15,-4-1-45 0,-3-3-71 0,0 0-30 16,-3 0-84-16,2-1-43 0,-4-3-306 0,-2-1-85 15</inkml:trace>
  <inkml:trace contextRef="#ctx0" brushRef="#br0" timeOffset="26591.9">22823 12148 208 0,'0'0'187'0,"0"0"-43"16,-6-3-11-16,6 3-18 0,0 0-8 0,0 0-8 15,0 0-9-15,-3-6-12 0,3 6-7 0,0 0-6 0,0 0-5 16,0 0-10-16,0 0-13 0,0 0-8 0,0 0-9 16,0 0-10-16,0 0-3 0,-1-4-6 0,1 4 2 15,0 0-3-15,0 0-2 0,-4 5 8 0,4-5 14 16,-2 10-3-16,-1-4 26 0,-2 4 42 0,0 2-15 15,-1 2-5-15,-3 4 20 0,-3 1 13 0,1 6-1 16,-3 2 2-16,-2 4-28 0,-3 3 44 0,1-1-25 16,0 3-15-16,0-1-3 0,-2 1 0 0,0 0 8 15,2-1-26-15,-3-2 11 0,2 1 3 0,2 0 5 16,0-4-11-16,4-4-9 0,0-2-10 0,0 0-4 16,4-3-10-16,-1-1 2 0,4-1-8 0,-1 0-4 15,-2-1-2-15,5 2 1 0,-3-5 0 0,4-1-4 16,-2 1 3-16,3 1-75 0,0-5-46 0,1 0-43 15,1-1-58-15,1-2-54 0,2 1-132 0,1-4-323 16,-4-5-222-16</inkml:trace>
  <inkml:trace contextRef="#ctx0" brushRef="#br0" timeOffset="27068.86">22903 12160 142 0,'9'-7'306'0,"-2"-1"-74"0,3 1-55 15,1 1-4-15,0-1-32 0,1 0 7 0,-1 0-45 16,2 1 19-16,1-1-30 0,-4 2 17 0,-1 1-24 15,3-1 19-15,-3 1-30 0,0 1 3 0,-2-1-19 16,1 0-10-16,-8 4-20 0,12-4 2 0,-12 4-25 16,11-3 16-16,-11 3-25 0,0 0 6 0,10 5 28 15,-10-5 4-15,3 12-3 0,-3-1 7 0,-2 1 0 16,1 5 56-16,-1 2-20 0,-1 6 41 0,-2 5-4 16,0 3-10-16,-3 6 20 0,0 2-11 0,1 0-2 15,0 2-27-15,-3 0 51 0,1-1-16 0,0 1-21 16,0-1-10-16,2-1-10 0,0-1-13 0,1-6-5 15,1-1-14-15,-3-1 9 0,4 1-7 0,-1-3-4 16,1-5-5-16,-1 0-7 0,1 0-7 0,-2-3 3 16,2-1-2-16,-1-1-4 0,1-4 2 0,-2-2 0 0,1-1-5 15,0 0 2-15,0-3 6 0,-2-2-2 0,1 0 0 16,-1-2-4-16,-3-3 3 0,-1-1-13 16,11-2-76-16,-25-1-51 0,12-1-49 0,-2-1-41 15,-3-3-34-15,-2-2-56 0,-2 1-27 0,0-2-29 0,-2 1-48 16,-1-4-334-16,-2 0-242 0</inkml:trace>
  <inkml:trace contextRef="#ctx0" brushRef="#br0" timeOffset="27192.86">22337 12862 218 0,'0'0'336'0,"-16"-4"-50"0,16 4-84 0,0 0 6 16,0 0-60-16,0 0 0 0,0 0-47 16,14-1 0-16,-2 1-44 0,2 2 14 0,5 0-32 0,1 0 15 15,7 0-58-15,3 1-35 0,3 0-109 0,0 2-53 16,5-2-294-16,-2-1 14 0</inkml:trace>
  <inkml:trace contextRef="#ctx0" brushRef="#br0" timeOffset="27772.99">24425 12282 333 0,'-4'-7'306'15,"0"-2"-44"-15,0 3-12 0,3-1-28 0,-2 2-24 16,3 5-6-16,-3-11-20 0,3 11-38 0,-4-9 10 16,4 9-61-16,-3-7-4 0,3 7-45 15,-1-6 12-15,1 6-38 0,0 0 23 0,-7 4-27 0,7-4 38 16,-5 13 2-16,0 0 13 0,-2 2 22 0,0 6 1 16,-2 4 6-16,-1 4 14 0,-3 5-22 0,0 2 16 15,-1 3-31-15,2-2 8 0,-5 1-21 0,4 1 12 16,-2 0-18-16,1-3 2 0,0-2-5 0,1 0-7 15,1-4-4-15,1-3-3 0,2 2-3 0,0-2-3 16,1-1 0-16,0-3-3 0,1-2-3 0,3 0 1 16,-1-3-4-16,3-1-40 0,0 0-43 0,2-4-29 0,0-1-34 15,3 1-40-15,1-2-17 0,1-3-82 0,3 0-24 16,2-2-98-16,1-3-264 0,0-2-171 16</inkml:trace>
  <inkml:trace contextRef="#ctx0" brushRef="#br0" timeOffset="28163.06">24578 12354 285 0,'8'-13'306'0,"-1"2"-66"0,2 2-42 0,3-2-12 16,1 2-30-16,-2-1-29 0,6 4-14 0,-2-1-29 15,4 0-11-15,-2 2-10 0,2 2-7 0,-2-1-1 16,2 2-4-16,1 0 4 0,-3 0-10 0,-2 2-4 15,-1-1-9-15,0 2-9 0,-1 1-6 0,-1 1 2 16,-1 1 14-16,-2 2 18 0,0 3 15 0,-1 1 9 16,-3 3-11-16,-3 4 15 0,0 1 13 0,-4 6 2 15,0 0-7-15,-2 6 24 0,-4 2-10 0,2-1 17 16,-4 8-7-16,-2-2 6 0,2 1-24 0,-2 0-7 16,1-2 6-16,1 0 33 0,2-4-16 0,0 0-10 15,0-3 35-15,1 3-19 0,2-4-9 0,0-2-15 16,0-2-12-16,-2-2-4 0,2-1-9 0,0-1-12 15,1-4-4-15,-2 0-3 0,-2-2 7 0,1-2 4 16,-2-3 1-16,-2-1 4 0,-3-3-26 0,0-3 6 16,-2-1-18-16,-2-2 11 0,-3-3-26 0,-3-2 15 15,-1 0-79-15,-5-3-49 0,3-2-48 0,0-1-58 16,-1 0-44-16,0 0-40 0,4-2-34 0,-2 2-45 16,3-2-35-16,4 3-112 0,3 0-292 0,0 0-344 0</inkml:trace>
  <inkml:trace contextRef="#ctx0" brushRef="#br0" timeOffset="28571.06">25535 12587 191 0,'0'0'527'0,"-14"-2"-90"0,14 2-84 0,-9-4-66 16,9 4-49-16,-2-5-35 0,2 5-42 0,4-6-44 15,-4 6-15-15,14-4-26 0,-3 4-7 0,3 0-22 16,4 0 2-16,4 2-14 0,3 0 3 0,2 1-12 16,8 2-28-16,-1-1-34 0,3 1-40 0,-1 2-12 0,7-1-57 15,1 0-2-15,-7 2-36 0,8-3-46 16,-8 0-29-16,1 1-301 0,-2-3-73 0</inkml:trace>
  <inkml:trace contextRef="#ctx0" brushRef="#br0" timeOffset="29064.94">26598 12460 8 0,'2'-11'333'0,"-1"0"-90"0,-1 2-10 15,0 0-43-15,0 2 18 0,0-1-53 0,0 1 1 0,0 7-54 16,0-12-7-16,0 12-47 0,-1-9 3 15,1 9-34-15,0 0 20 0,0 0-35 0,0 0 25 0,0 0-29 16,0 0 24-16,-10 6-26 0,7 2 25 16,-1 1-27-16,-1 1 26 0,1-1-24 0,0 3 22 0,1 1-23 15,-4-1 25-15,4 3-2 0,-1-2-24 16,1 0 19-16,-1 0-6 0,3-1 8 0,0-1 17 0,-1 0-4 16,1-3-21-16,0 1 31 0,-1-2 16 15,1 0 46-15,1-7 11 0,0 11-25 0,0-11-14 0,5 5-17 16,-5-5-4-16,9 3-25 0,-9-3 11 0,8-5-11 15,0 2-9-15,-2-3 2 0,-1-2-3 0,4-1-1 16,-1-3-5-16,-3-2-11 0,1 2 10 16,-2-4-7-16,1-1 5 0,-2 1-3 0,-2 2-3 15,-1 1 0-15,-1 0-7 0,-3-1 4 0,-4 4 1 0,-1-1-6 16,-5 4 8-16,0-1-5 0,-4 4 12 0,0 1-12 16,-1 3-3-16,0 1 7 0,-3 3 1 0,1 3-3 15,0 0-1-15,3 5-1 0,2-3 1 16,4 4 1-16,1-1-5 0,4 0 7 0,0 3 2 15,3-2-2-15,2-3 5 0,4 4 4 0,0-4-5 0,2 1 10 16,1 0-11-16,4-3 5 0,0 1-4 0,0-3 7 16,1-3-1-16,3 1-1 0,-1-3-5 0,2-1 4 15,-3-1-17-15,6-4 18 0,-4 0-4 0,-1-7-1 16,4 0-9-16,-5-1 7 0,3-2-6 0,-5-3-21 16,0 0-11-16,-2 0-1 0,-2 1-23 0,-3 0-48 15,-2 0-12-15,0 1-34 0,-1 1-63 0,-2 3-59 16,0-2-311-16,-1 0-98 0</inkml:trace>
  <inkml:trace contextRef="#ctx0" brushRef="#br0" timeOffset="29509.94">26816 12348 216 0,'1'7'317'0,"-2"0"-9"16,-2 3-52-16,-2 0-32 0,0 3-53 0,0 0 48 15,-1 1-42-15,-1 1-13 0,2 2-37 0,-4 1 19 16,3 1-5-16,1-2-34 0,-1-2-10 0,1 2-24 16,0 0-3-16,2-2-21 0,-1 1 6 0,0 0-23 15,1-3 2-15,1-2-12 0,-1 1 5 0,0-3-10 16,2 1-2-16,-1-3 2 0,-1 0 71 0,3-7 49 16,-2 11 58-16,2-11-21 0,-3 9-33 0,3-9-32 15,0 0-16-15,0 0-20 0,0-8-14 0,0 8-13 16,3-15-9-16,-1 3-9 0,3-4-2 0,0-4-3 15,0-4-8-15,5-5 0 0,2-6-2 0,2 0-1 16,2-1 0-16,2-1-8 0,3 1-19 0,0 3 1 16,-1-1 2-16,3 5-3 0,-1 1 1 0,-5 7 1 15,0 2 0-15,-2 3 0 0,-2 2-2 0,-2 3-5 16,0 0-2-16,-2 5 4 0,-1 1 2 0,0 3 1 16,-8 2 7-16,11 2-3 0,-11-2-2 0,6 10 12 15,-6-10-6-15,0 14 10 0,-4-4-3 0,-1 2-1 16,-3 0 2-16,-3 2 2 0,-3-1-3 0,0 2 3 15,-4-1-1-15,2-2 0 0,-3 2 3 0,-1-3-37 16,0 0-65-16,1 1-20 0,1-2-42 0,0 1-19 16,4-4-29-16,0 3-37 0,2-5 3 0,3 2-35 15,0-1-18-15,9-6-83 0,-5 5-226 0,5-5-115 16</inkml:trace>
  <inkml:trace contextRef="#ctx0" brushRef="#br0" timeOffset="29718.09">27313 12200 218 0,'12'-7'390'0,"0"4"-111"0,-3-1-66 16,-2 0-39-16,-7 4-58 0,12-1 44 0,-12 1 5 15,8 4-28-15,-8-4-13 0,4 9-15 0,-3 1-13 16,-1 0-15-16,0 3-6 0,0 1-8 0,0 3-2 16,1 2-20-16,1 1 1 0,-1 5-11 0,0-1-2 0,1 2-9 15,0 0 4-15,-2 1 1 0,0-2-13 0,3 0-44 16,-3 0-44-16,0-3-50 0,0 0-25 15,0-3-41-15,-2 0-20 0,1-2-29 0,1-1-33 16,-1-5-188-16,-2 0 64 0</inkml:trace>
  <inkml:trace contextRef="#ctx0" brushRef="#br0" timeOffset="29933.09">27309 12636 261 0,'-4'-10'296'16,"2"1"-59"-16,2-1-35 0,-3 1-10 0,6-3-44 15,-1 1 6-15,1-2-42 0,2-2 9 0,0 1 12 0,3 0-8 16,3-1-42-16,-2 0-3 0,4-1-8 0,4 0-2 15,-1 2-22-15,1 1 25 0,1 1-2 0,0 1-7 16,2 1-11-16,-2 2-7 0,0 1-9 0,-3 3-6 16,2 1-1-16,-6 1-13 0,3 2 0 0,-3 3-3 15,0 0-3-15,-3 2-1 0,-2 2 4 0,1 0-4 16,-4 3 2-16,1 0-1 0,-1 1 1 0,-1-1-39 16,-2 1-58-16,-1 1-37 0,0-1-56 15,-2 1-58-15,1-1-70 0,-1 0-294 0,2-2-112 16</inkml:trace>
  <inkml:trace contextRef="#ctx0" brushRef="#br0" timeOffset="31140.75">27606 12490 201 0,'-2'-17'301'16,"1"1"-33"-16,1-1-42 0,0-2-14 0,0 1-56 16,0 0-9-16,3 0-4 0,-3 0-28 0,2 1-20 0,1 0-20 15,-1 2-12-15,-2 1-11 0,2 1-9 0,-1 3-15 16,1-1-72-16,-2 3-36 0,2-1-28 0,-2 9 27 15,2-8-33-15,-2 8 25 0,5-5-13 16,-5 5-4-16,9 1 15 0,-1 3 43 0,0 1-20 0,1 0 36 16,2 4-22-16,1 0 38 0,-1 4-1 0,4 0 5 15,-2 2 4-15,1 1 9 0,0 1 14 0,-2 1 7 16,-1 0 5-16,1 1 8 0,-1-1 0 0,-2 0-4 16,0 0 3-16,-2 0 43 0,0-2-5 0,-2-3-6 15,-1-1-1-15,0-1 27 0,1-3 63 16,-3 2 38-16,0-6-16 0,-2-4-35 0,4 7-32 0,-4-7-20 15,0 0-1-15,0 0 4 0,2-5-23 0,-2 5 5 16,3-14-11-16,-2 5 7 0,2-2-23 0,1-2 15 16,1-1-18-16,0-2 1 0,1 0-3 0,2-2-11 15,1 2-7-15,-3 1-6 0,3 1-4 0,0 0-1 16,-2 3-1-16,0 1 0 0,-3 0-6 0,4 2-11 16,-3 0-4-16,-3 3 0 0,-2 5 3 0,7-6 3 15,-7 6 0-15,0 0-1 0,0 0-2 0,4 4 3 16,-4-4 0-16,0 10-3 0,0-10-7 0,-2 12 16 15,1-3-15-15,0-2 17 0,-2 2-14 0,3 0 14 16,-1-1-14-16,0-1 12 0,1 1-15 0,0 0 10 16,-2-1-4-16,2 1 18 0,0-8-11 0,2 10 15 15,-2-10-17-15,6 9 15 0,-6-9-17 0,12 4 19 16,-12-4-20-16,16 2 17 0,-4-4-15 0,2 1 18 16,1-2-20-16,4-1 14 0,0-1-15 0,1-1 11 15,3-1-15-15,-2 0 12 0,1 0-30 0,2-2 8 16,1 1-5-16,-4-1 13 0,0 2-11 0,-1 0 18 15,-1 0-9-15,-6 2 12 0,4-1 3 0,-4 0-2 16,-2 2-2-16,-1 1-2 0,-1-1-1 0,-1 1 4 16,-8 3-11-16,14-5-6 0,-14 5 8 0,10-4-10 15,-10 4 14-15,9-2-8 0,-9 2 10 0,0 0-8 16,10-1 11-16,-10 1-9 0,0 0 10 0,0 0-16 16,0 0 14-16,11-2-5 0,-11 2 11 15,0 0-7-15,0 0 16 0,0 0-22 0,10-2 22 0,-10 2-20 16,0 0 17-16,10-6-2 0,-10 6 1 0,8-6-2 15,-3 2 0-15,-5 4-2 0,9-10-3 0,-5 6 2 16,2-1-3-16,-2 0 4 0,-4 5-3 0,6-9 1 16,-6 9-7-16,3-7 1 0,-3 7-1 0,-3-8-3 15,3 8-2-15,-9-3 4 0,9 3 0 0,-14 0 1 16,14 0-2-16,-14 2-2 0,5 0 1 0,9-2 3 16,-13 7-2-16,7-3 1 0,0 1-9 0,-1 1 12 15,2 0-6-15,1-1 8 0,-1-1-8 0,5-4 15 16,-4 10-12-16,4-10 13 0,-1 10-11 0,1-10 14 15,3 6-10-15,-3-6 9 0,7 6-9 0,-7-6 9 16,14 2-13-16,-14-2 12 0,18 1-10 0,-18-1 7 16,22-1-10-16,-12 0 18 0,3 0-16 0,-3-1 11 15,2-1-3-15,-1 0-3 0,-1 1 3 0,1 1-3 16,-2-2 4-16,-9 3-6 0,12-3-3 0,-12 3-6 16,14-2 1-16,-14 2-4 0,9-1 1 0,-9 1 2 15,0 0 0-15,13 0 3 0,-13 0-12 0,0 0 16 16,0 0-12-16,12 1 11 0,-12-1-9 0,0 0 17 15,0 0-14-15,7 2 13 0,-7-2-3 0,0 0 10 16,0 0-7-16,0 0 9 0,13 0-19 0,-13 0 12 16,9-2 0-16,-9 2-4 0,10-6 7 0,-3 3-7 15,-1-2-2-15,4 1 0 0,-1-1 0 0,0-3 1 16,4 1 0-16,-3 0-10 0,4-2 10 0,-1-1 1 16,0 0-4-16,1 1 3 0,-1-1-4 0,-1 2 1 15,1-2-11-15,-4 3 13 0,1 0-10 0,-1 1 0 16,-2 1 1-16,-1 0 3 0,2 0-11 0,-8 5 12 15,11-5-9-15,-11 5 14 0,0 0-1 0,12-2-3 16,-12 2-24-16,7 4-3 0,-7-4 14 0,9 8-2 16,-9-8-2-16,7 10 2 0,-3-3-6 0,1 0 1 15,1-1 5-15,-1 2 7 0,0-1-2 0,-1-1 0 16,3 1 2-16,-4-2 2 0,1-1 6 0,1 1 5 16,-5-5-5-16,9 8 0 0,-9-8 1 0,11 3 4 15,-11-3-5-15,12 1 3 0,-12-1-1 0,14-1 0 16,-14 1-3-16,14-2 6 0,-14 2-3 0,13-4 0 15,-13 4 2-15,12-6-1 0,-12 6 0 0,14-4-5 16,-14 4-3-16,11-2-62 0,-11 2-17 0,14 1-23 16,-14-1-24-16,12 3-12 0,-7 1-58 0,-5-4-5 15,6 10-47-15,-4-4-281 0,-2 1-43 0</inkml:trace>
  <inkml:trace contextRef="#ctx0" brushRef="#br0" timeOffset="31564.8">26397 13179 441 0,'-9'-7'345'0,"2"-1"-36"15,-2 2-65-15,4 1-33 0,3-2-61 0,2 7-10 16,0-12-54-16,0 12-2 0,11-8-36 0,1 4 9 16,3 1-27-16,6 2 11 0,5-1-24 0,5 4 14 15,5 0-71-15,2 1-38 0,-1 2-73 0,8 1-79 16,-7 0-311-16,-2 0-52 0</inkml:trace>
  <inkml:trace contextRef="#ctx0" brushRef="#br0" timeOffset="32141.86">26604 13251 272 0,'6'-9'281'0,"2"-1"-17"0,3-1-30 15,-2-1-48-15,4-1 10 0,0 0-24 0,0 1 15 0,-1 0-45 16,-1 1-4-16,-1 3-31 0,0 0-17 16,-2 2-33-16,-2 0-1 0,-1 2-30 0,-5 4 6 15,0 0-17-15,10 3 12 0,-10-3-21 0,-1 11 15 16,-4 0-17-16,1 2 7 0,0 1-3 0,-1 1 7 0,1 1 20 15,-1 0 5-15,-2 1-10 0,2-1 3 0,-1 0-2 16,1 0-12-16,0 0-4 0,1-1 4 16,-1-2-9-16,0-3 5 0,3 0 2 0,0 0 26 15,-2-3 64-15,3 0 40 0,1-7 57 0,-4 10-46 16,4-10-27-16,0 0-32 0,0 0-16 0,0 0-21 0,-2-9-6 16,4 0-22-16,2-2 2 0,1-2-13 0,7-7-1 15,1-1-5-15,8-5-6 0,1-3 2 0,6-2 1 16,3 1-5-16,8-4 6 0,2 0-10 0,-4 10-6 15,1 1-3-15,-3 2 0 0,2 3-4 0,-9 4 1 16,-3 1-3-16,-5 5-4 0,-1 1-23 0,-6 2-2 16,-4 3 8-16,-9 2 6 0,0 0 5 0,0 0 0 15,0 0 2-15,-10 12 0 0,-9-5-11 0,-3 2-22 16,-9 2 13-16,-5 3-13 0,-2-1 16 0,0 1-12 16,1 1 21-16,2 0-12 0,7-1 22 0,1 0-11 15,2 0 14-15,3 2-10 0,5-3 21 0,2 2-21 16,2-1 24-16,5 0-19 0,2 0 18 0,2 0-10 15,4-1 18-15,4 1-13 0,2 1 14 0,5 1-16 16,0-2-8-16,5 1-46 0,0-1-26 0,2-2-29 16,6 2-53-16,-4-3-5 0,3-1-35 0,0-1-22 15,1-1-35-15,-2 0-19 0,3-1-273 0,-2-3-73 16</inkml:trace>
</inkml:ink>
</file>

<file path=ppt/ink/ink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8191" units="dev"/>
          <inkml:channel name="T" type="integer" max="2.14748E9" units="dev"/>
        </inkml:traceFormat>
        <inkml:channelProperties>
          <inkml:channelProperty channel="X" name="resolution" value="1290.03943" units="1/cm"/>
          <inkml:channelProperty channel="Y" name="resolution" value="2064.71338" units="1/cm"/>
          <inkml:channelProperty channel="F" name="resolution" value="0" units="1/dev"/>
          <inkml:channelProperty channel="T" name="resolution" value="1" units="1/dev"/>
        </inkml:channelProperties>
      </inkml:inkSource>
      <inkml:timestamp xml:id="ts0" timeString="2021-10-16T05:08:34.546"/>
    </inkml:context>
    <inkml:brush xml:id="br0">
      <inkml:brushProperty name="width" value="0.05292" units="cm"/>
      <inkml:brushProperty name="height" value="0.05292" units="cm"/>
      <inkml:brushProperty name="color" value="#FF0000"/>
    </inkml:brush>
  </inkml:definitions>
  <inkml:trace contextRef="#ctx0" brushRef="#br0">14594 14370 511 0,'-9'9'434'15,"1"-2"-95"-15,2-1-65 0,6-6-32 0,-2 9-10 16,2-9-27-16,9 4-25 0,1-1-22 0,3-1-41 16,4-2-8-16,4 0-31 0,7 0-6 0,2-1-27 15,4-1-13-15,6 0-47 0,-1 0-68 0,2 0-70 16,5-2-86-16,2-1-89 0,-1-1-373 0,-1 2-207 16</inkml:trace>
  <inkml:trace contextRef="#ctx0" brushRef="#br0" timeOffset="2138.77">15645 14250 352 0,'-7'-6'416'0,"2"2"-112"16,5 4-84-16,-9-4-54 0,9 4-34 0,0 0 29 15,-3 8-26-15,4 0 31 0,0 2-14 0,2 5-13 16,-1 2-15-16,3 2 8 0,-1 2-1 0,3 3-10 16,-2 0 2-16,1-1 30 0,3 5-12 0,-4-5 7 0,3 0-35 15,-2-2-12-15,-2-1-22 0,4 1-4 0,-5-4-10 16,1-2 18-16,0 0-7 0,-1-3 14 0,-2-1 26 16,2-2 51-16,-1-2 2 0,-2-7-24 0,0 10-29 15,0-10-24-15,0 0-15 0,0 0-19 0,-9-5-7 16,4-2-13-16,1-5-7 0,0-1 13 15,-2-5-25-15,2-4-6 0,-2-6-31 0,1-5-21 0,1 0 8 16,1-1 16-16,3-1-14 0,0 0 15 0,3 3-14 16,2 0 15-16,0 7-12 0,2 3 18 0,1 1-17 15,0 5 16-15,4 1-12 0,0 4 15 0,0 4-13 16,2 5 9-16,1 2-5 0,1 3 18 0,0 4-18 16,3 3 15-16,2 7-14 0,-1 1 17 0,1 3-8 15,-3 1 8-15,-2 2-2 0,0 1 1 0,-4 0 3 16,-1 2-2-16,-4 0 1 0,-2-3 0 0,-2 2-1 0,-3-2 5 15,-4-1-17-15,0 2 15 0,-5 1-11 16,-2-2 17-16,-5-1-18 0,1-1 21 0,-3-2-17 16,-2-2 18-16,-1-1-16 0,1-1 13 0,-1-5-12 15,3 0 13-15,-1-3-11 0,4 0 15 0,-2-3-17 16,3-2-49-16,0-2-88 0,3-2-77 0,1-1-88 0,1-2-60 16,2-4-76-16,2-1-101 0,4-3-403 0,1-1-521 15</inkml:trace>
  <inkml:trace contextRef="#ctx0" brushRef="#br0" timeOffset="4564.77">16239 14168 187 0,'0'0'374'0,"0"0"-107"16,0 0-9-16,0 0-11 0,0 0-24 0,9 11-16 15,-8-2-10-15,3 2-15 0,0 5-14 16,0-1-28-16,1 3 20 0,0 2-16 0,4-1-11 0,-3 0-1 15,2 0-7-15,0 0-6 0,1-1 0 0,0 2-19 16,-3-2-13-16,2-2 18 0,-1 0-8 0,0-3-18 16,-2 0-16-16,0-2-14 0,0-1-2 0,-2 0 0 15,2-2 33-15,-3-1 48 0,1-1 29 0,-3-6 31 16,4 9-4-16,-4-9-11 0,0 0-60 0,0 0 2 16,0 0-48-16,-7-3 10 0,2-4-33 0,0-3 15 15,0-2-40-15,-1-3-14 0,-1-6-29 0,1-2-5 16,-2-3-8-16,2-3-4 0,1-1-15 0,1-1 14 0,1 2-14 15,3 1 16-15,3 1-13 0,1-2 14 16,1 4-5-16,1 2 24 0,4 2-13 0,1 2 19 16,0 4-13-16,-1 3 16 0,2 2-12 0,-1 3 18 0,1 5-13 15,-2 1 17-15,3 2-14 0,-4 1 19 0,1 4-17 16,-1 3 17-16,0-1-14 0,-1 4 15 0,-2 0-16 16,-1 1 14-16,-1 1-14 0,2 1 16 15,-3 1-12-15,-2-2 15 0,2 1-16 0,-1 1 15 0,1-1-15 16,-2-1 16-16,4 0-5 0,-2-1 1 0,3 2 1 15,-1-2 1-15,2-1-3 0,-1 0-1 0,2 0 1 16,2 0-1-16,-1-1 0 0,-1-1 0 0,2 2 0 16,-4-4-2-16,2 2 3 0,-2-3-3 0,-2 1-1 15,2-1 4-15,-4-1 1 0,-2-6-2 0,-2 13 2 16,-1-8 0-16,-2 3-1 0,-2-4-1 0,-1 1-1 16,-3 0 1-16,1 0 1 0,-2-2-9 0,-2 0 11 15,1-1-7-15,-2-1 7 0,3 3-28 0,1-3-49 16,-2 2-46-16,2-1-35 0,-1-1-34 0,12-1-33 15,-16 0-27-15,16 0-61 0,-13 0-85 0,13 0-56 16,-9-3-405-16,9 3-400 0</inkml:trace>
  <inkml:trace contextRef="#ctx0" brushRef="#br0" timeOffset="5005.72">17030 13961 430 0,'-1'-8'420'0,"-2"2"-98"0,1 0-55 15,2 6-61-15,-13-7 9 0,13 7-47 0,-15-2-21 16,2 3-34-16,1 2-29 0,1 1-28 0,-2 3 2 16,0 0-20-16,4 3-2 0,-1-1-13 0,2 3 7 15,3 0 20-15,3 0 3 0,2 1-3 0,1-1-6 16,2 3 10-16,2 1-17 0,1-2-5 0,4 4 0 16,1-1 24-16,0-1-20 0,2 0 13 0,0 2-26 15,-3-1 17-15,5 0-17 0,-6 0 18 0,1-2-15 16,-2-1 18-16,-3-1 17 0,-1 1 59 0,-3-3-5 15,-2 1-5-15,-2-1-12 0,0-2 11 0,-5 2-9 0,-1-2-10 16,-1 0-16-16,-2-2-5 0,0-1-12 0,-1-1-7 16,0-1-11-16,1-1-7 0,1-2-5 0,-2 0-1 15,0-1-6-15,2 0-60 0,11 0-70 0,-18-1-54 16,18 1-80-16,-18-3-85 0,18 3-62 0,-9-6-68 16,9 6-411-16,0-10-422 0</inkml:trace>
  <inkml:trace contextRef="#ctx0" brushRef="#br0" timeOffset="5537.73">17306 14058 244 0,'8'-8'533'16,"-3"2"-119"-16,1 0-81 0,-6 6-46 0,2-7-57 16,-2 7-35-16,0 0-33 0,0 0-11 0,-17 3-32 15,11 3-8-15,-3 1-16 0,-1 2 0 0,1 1-33 16,1 0 6-16,-1 1-32 0,0 3 8 0,5-1-20 15,-2-1 15-15,2 2-20 0,1 1 20 0,3-4-3 16,0 3 25-16,2-1-20 0,1 1 11 0,4-1-20 0,-1 1 15 16,3-2-13-16,3-1 10 0,-1 1-20 15,3-4 11-15,2 1-18 0,0-2 13 0,1-4-25 16,1 2 18-16,1-2-12 0,0-3 9 0,3-2-13 16,0-2 16-16,1-1-17 0,0-4 9 0,2-3-14 0,-1-2 10 15,-2-2-8-15,0-2 11 0,-2-4-15 0,-2 2 10 16,-3 0-14-16,0-2 11 0,-3 4 47 15,-3 1 31-15,-4 2-23 0,1 1-6 0,-4 4-17 0,-2 1-4 16,-1 2-15-16,-4 3 0 0,5 4-7 0,-13-2-4 16,3 5-4-16,-2 0 1 0,3 4-6 0,-2 3 0 15,1 0-1-15,2 2 4 0,-1 1-2 16,5 0 4-16,0 1-6 0,2 0 5 0,2-2-3 0,2 1 4 16,1 0-4-16,2 0 11 0,2-1-4 0,1-1 8 15,1 0 0-15,1-3 8 0,-1-2-10 0,0-1 11 16,3-1-13-16,-12-4 9 0,18 0-10 0,-8-1 6 15,0-5-10-15,-1 2 12 0,0-3-18 0,1-2 9 16,-2 0-9-16,-2-2 8 0,1 1 36 0,-1 2 36 16,-1-1 16-16,0 2-5 0,-2-1-10 0,1 3-16 0,-4 5-20 15,6-11-17-15,-6 11-4 0,0 0-3 16,4-3-4-16,-4 3-2 0,0 0-3 0,4 7-2 16,-4-7-11-16,2 11-61 0,-2-4-64 0,0 1-48 15,0 0-59-15,0 3-34 0,1-1-45 0,1 1-87 0,-2-1-45 16,1 0-531-16,0 0-566 0</inkml:trace>
  <inkml:trace contextRef="#ctx0" brushRef="#br0" timeOffset="5830.74">18009 14061 320 0,'7'-5'424'0,"-7"5"-43"15,9-2-37-15,-9 2-5 0,8 4-34 0,-8-4-47 16,4 10-13-16,-1-3-59 0,-2 0 6 0,2 0-36 15,-1 1-17-15,-2 0-39 0,1-1-6 0,1 1-27 16,-1-2 1-16,0 0-11 0,-1-6 40 0,3 11 45 16,-3-11 83-16,1 8 23 0,-1-8-49 0,0 0-45 15,0 0-31-15,17-5-29 0,-11 0-12 0,3-2-35 16,4 0 5-16,-3-2-10 0,5-1-7 0,-4 2-8 16,0-1 0-16,3 2-4 0,-2 0-7 0,-2 3 1 15,3-1-7-15,-3 4-1 0,0 1 0 0,2 0-13 16,-2 4 15-16,0 0-1 0,-1 3 2 0,-1 0-10 0,-2 2-55 15,4 2-66-15,-6 2-86 0,1 1-88 0,-1 0-50 16,1-1-79-16,-3 1-150 0,0-2-481 16,-1-1-670-16</inkml:trace>
  <inkml:trace contextRef="#ctx0" brushRef="#br0" timeOffset="6023.92">18541 14097 517 0,'15'-10'429'0,"0"0"-76"16,3 1-46-16,0 0-25 0,0 0-30 0,0 2-21 16,2 0-43-16,1 0 0 0,-3 0-48 0,0 3-5 15,-2-2-44-15,3 2-4 0,1 1-29 0,-4-1 6 16,2 1-28-16,0 0 10 0,0 1-26 0,-3-1-50 16,3 2-74-16,-5-1-78 0,1 0-74 0,-2 1-144 15,0 0-377-15,0-2-297 0</inkml:trace>
  <inkml:trace contextRef="#ctx0" brushRef="#br0" timeOffset="7182.97">19530 13564 193 0,'0'0'462'0,"-6"-7"-167"0,6 7-41 0,0 0-39 0,-6 5 17 16,5 2 1-16,1 4-25 0,-1 2 7 0,1 6-56 15,0 3 4-15,0 3 28 0,0 3-37 0,0 0-6 16,1 6-3-16,-1 1 0 0,-1-3-7 0,1 2 3 15,-1-5-17-15,-1-2-15 0,-4 0-18 0,2-3-7 16,0-1-11-16,-1-1 16 0,-4-3-17 0,0-1 3 16,-1-2-23-16,2-4 16 0,-1-2-19 0,-1-2 16 15,1-3-24-15,0-2 8 0,9-3-23 0,-16-2 11 16,8-4-10-16,2-3-8 0,-2-2-18 0,4-4-7 16,2 2 0-16,-1-3 0 0,3 2-3 0,3-3 0 15,1 2 3-15,-1-1-2 0,5 3 0 0,-2 1-1 16,2 1-3-16,0 2 4 0,2 2-3 0,-2 1 3 15,2 4-3-15,-10 2 6 0,20 0 0 0,-8 1-1 16,0 4 1-16,1-1 0 0,3 3 4 0,-4 0-6 16,4 0 5-16,-1 0-1 0,3 4-10 0,-3-2 12 0,3 0-7 15,-1 0 12-15,-2-1-10 0,-1-1 16 16,0-1-12-16,0 0 15 0,0-1-13 0,-1-1 17 16,-4-3-17-16,4 0 14 0,-3-1-15 0,-1-2 15 0,2-2-15 15,-3-2 14-15,1-1 0 0,0-3-3 16,-3-2-2-16,2-2-5 0,-4 0-1 0,2-1 0 0,1 1-2 15,-2-1-2-15,1 2 58 0,-3 2 26 0,1 0 46 16,0 3-31-16,-2-1 2 0,1 1-44 0,-1 2 6 16,3 0-43-16,-5 6 22 0,4-6-26 0,-4 6 18 15,0 0-27-15,0 0 23 0,14 1-26 0,-14-1 19 16,7 10-20-16,-2-3 22 0,-2 0-25 0,1 1-5 16,0 1-78-16,-1 2-33 0,1-3-63 0,-2 5-33 15,2-4-47-15,0 2-35 0,0-2-13 0,-2 2 1 16,-1-3-35-16,2 1 3 0,-2-3 10 0,1 1 38 15,-2-7-32-15,2 7-348 0,-2-7-182 0</inkml:trace>
  <inkml:trace contextRef="#ctx0" brushRef="#br0" timeOffset="7282.97">19903 13772 64 0,'0'-17'394'0,"-1"1"-139"0,0 3 0 0,-2 0-60 16,3 1-17-16,-1 1-59 0,-1 0-7 0,1 1-99 15,1 3-48-15,0 0-69 0,0 7-14 0,-2-11-303 0,2 11 115 16</inkml:trace>
  <inkml:trace contextRef="#ctx0" brushRef="#br0" timeOffset="7651.06">20196 13636 322 0,'0'0'357'15,"6"-4"-52"-15,-6 4-84 0,0 0-1 0,4-7-38 16,-4 7-4-16,1-7-19 0,-1 7-11 0,0 0-33 15,2-7-7-15,-2 7 1 0,0 0-12 0,-2-9-12 16,2 9-9-16,0 0-18 0,0 0-13 0,0-5-11 16,0 5-10-16,0 0-9 0,0 0-6 0,0 0 1 15,0 0-5-15,0 0 1 0,-11 1-5 0,11-1 0 16,-9 7-2-16,5-1-4 0,0 0 0 0,2-1 2 16,0 3-5-16,1-1 9 0,2 4-32 0,3-1 36 15,-1 0 1-15,4 4 0 0,0-1 4 0,-1 1 26 16,6 0-3-16,-1 2-2 0,-2 0-7 0,1-2-7 0,0 3-1 15,-2-2-2-15,0-2-6 0,-3-1 7 16,1 2 1-16,-4-3 45 0,-2 0-12 0,-4 0 8 16,0-1-26-16,-4 1 19 0,1-3-24 0,-6 2 17 15,3-4-25-15,-3 1 13 0,0-2-18 0,0-1 15 16,-1-2-16-16,3-1 17 0,-1 1-51 0,0-4-31 0,1 1-60 16,1-1-81-16,0-2-54 0,2-1-85 15,0-1-63-15,3 1-289 0,2-3-193 0</inkml:trace>
  <inkml:trace contextRef="#ctx0" brushRef="#br0" timeOffset="7942.01">20446 13551 375 0,'0'0'332'0,"0"0"-96"0,0 0 46 0,0 0-75 15,4 6-19-15,-4-6-34 0,3 11 3 0,-1-6-19 16,1 4-21-16,-2 0-4 0,3 0-22 0,0 2-13 0,-2-1-15 16,2 0-40-16,-1 1 31 0,1 0-14 15,-2-2-6-15,1 2-3 0,1-1-1 0,-2 0-5 16,1-1-2-16,0 0-48 0,-1-1-54 0,0-1-46 0,-2-1-40 15,1 1-26-15,-1-7-71 0,4 9-31 0,-4-9-224 16,0 6-16-16</inkml:trace>
  <inkml:trace contextRef="#ctx0" brushRef="#br0" timeOffset="8375.37">20497 13565 47 0,'0'0'625'0,"-3"-10"-182"0,3 10-107 0,-2-5-85 15,2 5-28-15,0 0 14 0,0 0-28 0,9 3-28 16,-5 2-12-16,1 2-17 0,3 4-16 15,-2 1-20-15,3 0-15 0,0 2-11 0,0 4-17 0,1 0-12 16,1 0-17-16,-1 1-2 0,0 1-5 0,-2 0-6 16,-2 1-15-16,2-1 10 0,-2-1-63 0,-2-1-48 15,-3-1-40-15,0-1-56 0,-2-2-32 0,0 0-76 16,-2 0-34-16,-4-3-113 0,-1-1-180 0,2-2-124 16</inkml:trace>
  <inkml:trace contextRef="#ctx0" brushRef="#br0" timeOffset="8769.25">20405 13826 102 0,'0'-11'338'0,"3"1"-80"0,2 1-32 0,0-1-13 16,4 0-25-16,3 0-35 0,2-2-8 0,2 1-3 15,2 0-11-15,3 1-13 0,0 1-7 0,1 1 22 16,1 1-12-16,3 2-26 0,-1-1 6 0,1 3-8 16,-2 2 4-16,-1 2-8 0,5 1 8 0,-5 2-24 15,0 1-12-15,-1 4-1 0,-2 0-2 0,-4 0-9 0,0 2-5 16,-5 2-7-16,-1-3-5 0,-4 1-19 15,-1-1 16-15,-2 2-18 0,-3-2 26 0,0 0-12 16,-1-1 26-16,-2-1-9 0,-1 0 25 0,3-1 13 0,-2-2 24 16,3-5-7-16,-7 9-3 0,7-9-11 0,-7 4-12 15,7-4-8-15,0 0-9 0,-5-5-15 0,5 5-4 16,0-10-7-16,0 4-7 0,5-5-5 0,-1 1-1 16,1-2-11-16,4-1 7 0,-1-2-3 0,1-1-4 15,2-2-3-15,-2 0 2 0,3 0-3 0,-1 0 1 16,-2 1 4-16,0 0 30 0,1 5 34 0,-3 0 10 15,-1 0-16-15,1 5-13 0,-2-3-23 0,0 5-5 16,0 1-5-16,-5 4-7 0,7-5 1 0,-7 5 0 16,0 0-4-16,13 3 3 0,-13-3 1 0,9 8 0 15,-4-1-14-15,-1-1 20 0,-1 1-7 0,1 3-63 16,-2-2-43-16,-1 2-60 0,2-2-53 0,-3 3-32 16,0-4-33-16,0 3-63 0,0-2-54 0,-1-1-71 15,-2 0-394-15,1-1-402 0</inkml:trace>
  <inkml:trace contextRef="#ctx0" brushRef="#br0" timeOffset="8917.78">20881 13490 204 0,'-5'-13'501'0,"-1"3"-85"0,3 0-96 0,-2 0-57 16,1 2-62-16,0-1-34 0,0 0-33 0,2 1-17 15,-1 2-76-15,0 0-75 0,2-1-136 0,1 7-52 16,3-11-102-16,-1 4-182 0,2 0-1 0</inkml:trace>
  <inkml:trace contextRef="#ctx0" brushRef="#br0" timeOffset="9240.79">21039 13349 164 0,'14'6'422'15,"-2"4"-73"-15,1-2-28 0,1 5-42 0,-1 2-18 16,-1-2-20-16,1 4-44 0,0-1-16 0,-2 1-36 16,-2 1-15-16,0-1-9 0,-3 0-21 0,0-3-16 15,-1 1-15-15,-1 1-11 0,0-4-7 0,-2 1-9 16,-2-2-6-16,3-2-2 0,0-1 18 0,-1 0 45 15,-2-1 33-15,0-7-22 0,1 8-22 0,-1-8-24 16,0 0-5-16,0 0-13 0,0 0-9 0,5-5-6 16,-1 0-8-16,1-1-7 0,3-1-9 0,2 0 0 15,0-1-9-15,3 2 4 0,2-1-7 0,-1 1 6 16,2 2-13-16,-1 1 13 0,0 1-6 0,-2 2 7 0,0 0-11 16,0 1 22-16,-2 2 0 0,-1 1 3 15,-1-1 1-15,-1 2 7 0,-2 1 3 0,-3-1 4 0,-2 1 0 16,-2-1-1-16,-2 3-3 0,-3-2-1 0,0 1-3 15,-3-1-3-15,-3 1-2 0,-1 0-1 0,1 0-8 16,-2 0 9-16,-2-3-8 0,2 3 4 0,0-3-46 16,0 1-32-16,3-2-39 0,0 1 2 0,1-2-60 15,10-2-68-15,-13 1-80 0,13-1-53 0,-7-3-54 16,7 3-385-16,0-9-329 0</inkml:trace>
  <inkml:trace contextRef="#ctx0" brushRef="#br0" timeOffset="9839.39">21430 13511 67 0,'8'-4'507'0,"-8"4"-162"0,15-5 29 0,-15 5-23 16,0 0-44-16,13 3-8 0,-13-3-51 0,8 6-24 16,-8-6-37-16,6 10 17 0,-6-10-24 0,5 12-24 15,-1-5-36-15,1-1-11 0,-1 1-13 0,1 1-6 16,2-1-13-16,0 0-9 0,2-2-9 0,-1 2-8 0,3-3-9 16,-2 0-3-16,3 0-5 0,-1-3-7 15,1-1-1-15,-1 0-3 0,3-2-19 0,-3-2-43 16,1-1-24-16,1-3-29 0,-4 0 20 0,4-2-9 0,-4 0 28 15,1 0-7-15,-2 1 25 0,-2 0-10 0,2 2 25 16,-3 0-7-16,-1 1 15 0,2 1-16 0,-2 1 18 16,-4 4-22-16,8-7 24 0,-8 7-12 0,6-5 22 15,-6 5-7-15,0 0 56 0,14 0 1 0,-14 0 19 16,0 0-10-16,14 2-2 0,-14-2-16 0,10 0 2 16,-10 0-5-16,0 0 35 0,13 0 1 0,-13 0-6 15,9-4-24-15,-9 4 3 0,9-9-14 0,-6 3-2 16,0-2-14-16,-3-1 4 0,2-2-12 0,-4-2 2 15,0-4-8-15,-2-1 5 0,3-4-11 0,-2-1 7 16,1-1 0-16,-1 0 28 0,2 5 37 0,0 0 24 16,-1 1 27-16,2 4 29 0,0 2-42 0,0 0-10 15,-1 2-48-15,1 2 5 0,0 8-41 0,1-7 13 16,-1 7-4-16,0 0 37 0,7 8 23 0,-3 2-27 16,-2-1-14-16,6 7 6 0,-6-1-10 0,3 2-11 15,-1 5 4-15,0-1-6 0,-3 1 1 0,1 1-11 16,-1-1-63-16,-2-2-29 0,-2 3-64 0,-1 0-52 15,0-3-49-15,-1 1-40 0,-4-2-16 0,4-4-11 0,-1-2-4 16,-1-1 25-16,2-1 27 0,0-4 28 16,3-2 0-16,2-5 56 0,0 0 0 0,0 0 62 0,0 0-3 15,0-7 42-15,6-2-14 0,2-2 79 0,1-1 34 16,3-4 22-16,1 0 3 0,0 1 35 0,4-1-7 16,-2 3 8-16,0 0 10 0,1 1-14 0,-2 3 5 15,-1 1-20-15,-1 2 16 0,1 2 5 0,0 2 38 16,-13 2-32-16,22 1 2 0,-12 3-26 0,-1 0 4 15,-3 3-23-15,2 1 5 0,-2 2-19 0,-2 0 9 16,-3 1-20-16,2 0-64 0,-2 1-76 0,-1 0-78 16,0 0-90-16,-1-1-82 0,1-1-487 0,-3-2-395 15</inkml:trace>
  <inkml:trace contextRef="#ctx0" brushRef="#br0" timeOffset="10186.87">22040 13315 331 0,'-1'-22'537'15,"-1"2"-78"-15,2 0-87 0,-3 1-71 0,0 1-46 16,2 1-62-16,-2 1-40 0,1 2-28 0,-1 3-27 16,1 0-21-16,0 3-17 0,-3 1-34 0,5 7-59 15,-4-9-28-15,4 9-19 0,0 0-16 0,0 0 19 0,0 0-37 16,0 0 14-16,0 0-11 0,12 6 38 16,-4-1-12-16,0 1 43 0,-1 1-26 0,2 2 35 0,-2 0-18 15,4 1 52-15,-4 1 23 0,-2 1 39 0,2 0 1 16,-1 1 19-16,-1 0 8 0,-1 2-1 15,0-2-16-15,0 2-23 0,0 0-5 0,1-1 17 0,-1 0-5 16,3 0-6-16,0-1 12 0,0-1 4 0,1 0 11 16,3-1-20-16,0-1 11 0,-2-1-9 0,2-2 25 15,-1-3-27-15,1 1 18 0,0-3-18 0,-11-2 20 16,17-1-15-16,-8-1 9 0,-2-3-22 0,-2-1 4 16,1-1-19-16,-4-2 2 0,-2 0-13 0,0-2 2 15,-1 0-14-15,-2 1 7 0,-2 0-12 0,-3-1-39 16,0 0-68-16,0 2-34 0,-1 0-41 0,1 2-72 15,-2 1-44-15,4-2-79 0,-1 2-81 0,2-1-214 16,1 1-173-16</inkml:trace>
  <inkml:trace contextRef="#ctx0" brushRef="#br0" timeOffset="10433.4">22325 13189 345 0,'14'-3'424'0,"1"3"-51"0,-2 0-74 16,1 0-25-16,0 3-21 0,-1-1-42 0,0 4-3 15,-3-2-46-15,3 4-10 0,-3 0-38 0,-2-1-2 16,1 2-41-16,-4-1 5 0,1 1-22 0,-1-1 7 0,-1-1-21 15,1 1 7-15,0-2-21 0,-2-1 26 16,-2 1 46-16,-1-6 84 0,7 7 21 0,-7-7-26 0,0 0-46 16,0 0-16-16,14-2-35 0,-7-2-7 0,0 0-30 15,0-3 4-15,2 3-19 0,3-1 4 0,-1-2-14 16,3 2 10-16,-3 1-5 0,0 1-8 16,2 2 0-16,0 0-4 0,-1 1 1 0,1 1-6 15,-3 1 2-15,3 2-10 0,-3 2 9 0,1 2 7 0,-1 0-54 16,-2 3-83-16,-2 0-45 0,-2 1-82 0,-3 0-69 15,-1 2-109-15,-1 1-629 0,-4-1-675 0</inkml:trace>
  <inkml:trace contextRef="#ctx0" brushRef="#br0" timeOffset="13464.88">23445 12268 423 0,'0'0'327'0,"-15"3"-54"0,15-3-41 16,-12 5-55-16,12-5-34 0,-12 2-35 0,12-2-22 15,-10 4-15-15,10-4-11 0,-13 5-9 0,13-5-39 16,-13 6-11-16,13-6-57 0,-12 6-9 0,12-6-68 0,-12 6-12 16,12-6-93-16,-8 6-183 0,8-6 116 0</inkml:trace>
  <inkml:trace contextRef="#ctx0" brushRef="#br0" timeOffset="13634.79">23625 12194 97 0,'0'0'426'0,"9"-5"-95"16,-9 5-51-16,7-9-30 0,-7 9-36 0,7-7-35 15,-7 7-35-15,4-5-24 0,-4 5-39 0,3-5-13 16,-3 5-13-16,0 0-53 0,0 0-83 0,0 0-87 16,-3 9-98-16,0-3-275 0,-2 1-49 0</inkml:trace>
  <inkml:trace contextRef="#ctx0" brushRef="#br0" timeOffset="13803.79">23378 12747 98 0,'-8'7'374'0,"-1"-3"-123"0,2 3-29 15,2-4-70-15,5-3-6 0,-9 7-56 0,9-7 7 0,-9 9-41 16,9-9-7-16,-10 7-130 0,10-7-80 0,-6 9-250 15,6-9 130-15</inkml:trace>
  <inkml:trace contextRef="#ctx0" brushRef="#br0" timeOffset="13956.79">23364 12874 212 0,'0'0'409'0,"0"0"-71"0,-10 2-16 0,10-2-91 15,0 0-44-15,0 0-40 0,-9 3-37 0,9-3-80 16,0 0-32-16,0 0-84 0,0 0-84 0,4 4-370 16,-4-4-47-16</inkml:trace>
  <inkml:trace contextRef="#ctx0" brushRef="#br0" timeOffset="14111.79">23807 12886 213 0,'0'0'405'16,"0"0"-78"-16,0 0-61 0,0 0-68 0,0 0-41 16,0 0-32-16,0 0-30 0,11 0-56 0,-11 0-44 15,0 0-43-15,0 0-99 0,9 6-47 0,-9-6-258 16,9 4 74-16</inkml:trace>
  <inkml:trace contextRef="#ctx0" brushRef="#br0" timeOffset="14246.62">24159 12886 372 0,'0'0'320'16,"0"0"-109"-16,9-3-14 0,-9 3-66 0,0 0-13 0,0 0-82 15,9-2-40-15,-9 2-76 0,0 0-27 0,0 0-273 16,0 0 167-16</inkml:trace>
  <inkml:trace contextRef="#ctx0" brushRef="#br0" timeOffset="14369.63">24496 12847 415 0,'0'0'362'0,"14"-1"-72"0,-14 1-40 16,11-2-79-16,-11 2-17 0,0 0-55 0,15-3-23 15,-15 3-121-15,0 0-16 0,0 0-84 0,15 0-108 16,-15 0-163-16,0 0 120 0</inkml:trace>
  <inkml:trace contextRef="#ctx0" brushRef="#br0" timeOffset="14534.2">24721 12661 231 0,'5'-8'346'0,"-1"1"-115"0,-1 1-15 0,1 0-63 16,-2-2-8-16,3 4-54 0,-5 4 6 0,7-10-44 15,-5 5-34-15,-2 5-87 0,5-7-71 0,-5 7-72 0,4-7-158 16,-4 7 175-16</inkml:trace>
  <inkml:trace contextRef="#ctx0" brushRef="#br0" timeOffset="14685.2">24219 12527 139 0,'-24'-2'347'15,"1"-2"-107"-15,2 0-2 0,5 2-49 0,-1-2-20 16,4 3-64-16,1-1-20 0,1 1-107 0,11 1-63 15,-11 0-161-15,11 0-121 0,0 0 176 0</inkml:trace>
  <inkml:trace contextRef="#ctx0" brushRef="#br0" timeOffset="14831.2">23999 12471 176 0,'-13'-5'307'15,"-1"1"-54"-15,4-1-82 0,1 2-6 0,-1-1-57 16,2 1 0-16,8 3-90 0,-14-7-59 0,14 7-108 16,-10-4-204-16,10 4 191 0</inkml:trace>
  <inkml:trace contextRef="#ctx0" brushRef="#br0" timeOffset="15087.26">24735 12303 86 0,'4'4'174'0,"-4"-4"-67"0,3 8 0 0,-3-8-60 16,2 8-77-16,-2-8-124 0,0 0 39 0</inkml:trace>
  <inkml:trace contextRef="#ctx0" brushRef="#br0" timeOffset="15847.94">23866 11733 24 0,'-36'6'103'15,"-7"3"-12"-15,1 1-13 0,0 3-11 16,-2 0 1-16,1 4-14 0,-3 1 4 0,5 2 11 16,0 3-2-16,-6 6-33 0,3-1 30 0,8 0-35 0,1 1 33 15,3 0-38-15,1 3 13 0,2 0 2 0,4 3 34 16,-2 1 15-16,3 3-41 0,1-1 43 15,4 3-41-15,0-2 15 0,1 4-35 0,4-4 37 0,-1 2-34 16,2 1 22-16,2-1-33 0,3-1 23 0,3-5-34 16,1 1 26-16,1-3-32 0,3 2 2 0,1-2-3 15,3 2 4-15,-1-2 0 0,1-1-5 0,3 0 29 16,2 0-34-16,0-4 50 0,4 2-31 0,1 3 22 16,3-3-27-16,2 0 28 0,3-4-29 15,-1 2 23-15,6-3-7 0,-3-1-6 0,6-1 1 0,-1 0 3 16,3-3-4-16,1-1-4 0,2 0 4 0,2-2-4 15,0-1-5-15,0-3 28 0,3 0-31 0,2-1 30 16,0-4-17-16,3 0 15 0,1-2-20 0,2-2 16 0,0-2-10 16,3-1 18-16,1-2-14 0,1-1 14 0,0-2-15 15,2-2 20-15,1-2 0 0,-2-1 2 0,10-3-3 16,-1-1 10-16,-3-1-8 0,0-2 3 16,-3-1 11-16,1-1-10 0,-2-1 9 0,-2-1 4 15,-2-3-14-15,-1 0-4 0,-7 1 4 0,4-3-1 0,-7 2-3 16,1-1-3-16,-5 0 3 0,0-1-5 0,-1-2 20 15,-1 2-18-15,-6-3 12 0,2 2-4 0,-2 0 21 16,-5-3-22-16,1 2 14 0,-4-3-5 16,-4-1-4-16,-3 5 9 0,-4-4-5 0,-1 0-12 0,-5-1-8 15,-4-3-10-15,-1-1-3 0,-7-4-6 0,-3-2-3 16,-6 0-6-16,-7-8 5 0,-4 1-6 0,-2 1-2 16,-4 2-5-16,-3-1-1 0,-2 3-2 0,-5 2 1 15,-2 1-2-15,-4 3-2 0,-4 4 5 0,-5-1-1 16,-1 5-1-16,-4 2-2 0,-3 2 3 0,-4 4-4 15,2 1-9-15,0 5-27 0,-1 2-12 0,15 5-43 16,1 3-8-16,2 1-47 0,10 5-23 0,0 3-51 16,5 2-20-16,3 2-69 0,4 5-39 0,4-1-418 15,4 3-288-15</inkml:trace>
  <inkml:trace contextRef="#ctx0" brushRef="#br0" timeOffset="16322.08">26898 12537 311 0,'-5'-5'539'15,"-2"-1"-80"-15,3-2-84 0,-2 1-42 0,-2 0-77 0,3 0-51 16,0 1-54-16,0 0-18 0,0 0-44 0,5 6-5 15,-9-6-54-15,9 6-83 0,-8-4-105 16,8 4-141-16,0 0-479 0,-7 6-298 0</inkml:trace>
  <inkml:trace contextRef="#ctx0" brushRef="#br0" timeOffset="16502.08">27250 12548 304 0,'7'-3'523'15,"-1"-2"-115"-15,-2-2-88 0,2 1-21 0,-1 0-55 16,1 0-29-16,-6 6-62 0,7-8-22 0,-7 8-36 16,7-10-67-16,-7 10-55 0,10-6-56 15,-10 6-6-15,13-4-65 0,-13 4-4 0,16-1-31 0,-16 1-25 16,22-1-22-16,-9 1-257 0,0 0 17 0</inkml:trace>
  <inkml:trace contextRef="#ctx0" brushRef="#br0" timeOffset="16572.08">27525 12481 143 0,'0'0'158'0,"0"0"-72"16,-14 0-101-16,14 0-111 0,-14-1 41 0</inkml:trace>
  <inkml:trace contextRef="#ctx0" brushRef="#br0" timeOffset="16729.91">27185 12211 150 0,'-6'-17'382'15,"-2"2"-97"-15,0 0-38 0,1 1-77 0,0 0-19 16,-1 0-49-16,-1 3 2 0,-1 0-42 0,-1 2-12 16,2 0-97-16,-1 3-23 0,0 1-55 0,-1 0-63 15,2 1-217-15,-1 2 138 0</inkml:trace>
  <inkml:trace contextRef="#ctx0" brushRef="#br0" timeOffset="16860.91">27047 12082 165 0,'0'0'285'0,"3"-6"-87"0,-3 6-1 16,-1-8-66-16,1 8-1 0,0-7-54 0,0 7-8 15,0-8-86-15,0 8-33 0,2-10-70 0,-2 10-213 16,6-11 209-16</inkml:trace>
  <inkml:trace contextRef="#ctx0" brushRef="#br0" timeOffset="17014">27049 11612 109 0,'-6'-12'285'0,"1"1"-112"0,-1 2-9 0,1 0-65 15,-3 2 7-15,-1 1-48 0,0 1 20 0,-2 3-43 16,2-1 4-16,9 3-73 0,-22 2 2 0,12 2-59 16,-2 4-17-16,1 1-169 0,-1 5 274 0</inkml:trace>
  <inkml:trace contextRef="#ctx0" brushRef="#br0" timeOffset="17176">26632 12503 138 0,'-3'20'274'0,"3"-2"-68"0,-1 2-38 0,1-2-13 16,1 0-13-16,-1-1-23 0,4-1-24 15,0 0-19-15,0-1-11 0,2 1-11 0,-1-2-19 16,3-1-65-16,0 1-28 0,1-1-56 0,-2 0-102 0,2-2-134 15,-1 1 192-15</inkml:trace>
  <inkml:trace contextRef="#ctx0" brushRef="#br0" timeOffset="17299">26665 13067 45 0,'-6'13'162'0,"1"-1"-25"0,2 0-39 0,1-1-37 16,0 2-115-16,0-2-90 0,0 1 40 0</inkml:trace>
  <inkml:trace contextRef="#ctx0" brushRef="#br0" timeOffset="17461">26659 13393 161 0,'-8'8'380'0,"2"-2"-74"16,-1 0-28-16,-1 1-41 0,1-1-68 0,-1 0-10 15,1 0-54-15,-1 0 3 0,0 0-45 0,1 1 10 16,0-1-30-16,3-1 20 0,0 1-31 0,2 0 18 15,2-6-35-15,1 9-27 0,-1-9-56 0,9 7-7 16,-9-7-44-16,17 3-25 0,-6-4-30 0,2-1-20 16,4-2-23-16,3-4-177 0,-2-1 150 0</inkml:trace>
  <inkml:trace contextRef="#ctx0" brushRef="#br0" timeOffset="17579.93">26781 13393 476 0,'16'-18'237'0,"0"-3"34"0,-4 3 33 0,-2-2-8 16,4-2-4-16,-4 1 20 0,-1 1-1 0,0 0 2 15,-1 2-14-15,-2 2-26 0,-1 1-47 0,2 2-48 16,-2 3-36-16,-1-1-35 0,0 2-27 0,-2 1-74 0,2 2-59 15,-4 6-21-15,5-8-91 0,-5 8-74 16,0 0-94-16,10-1-149 0,-10 1-391 0,0 0-430 16</inkml:trace>
  <inkml:trace contextRef="#ctx0" brushRef="#br0" timeOffset="17715.93">27233 12744 39 0,'-2'-15'276'0,"0"-1"-107"0,-1 0-99 0,3-2-144 16,0 0-77-16,-1-1 38 0</inkml:trace>
  <inkml:trace contextRef="#ctx0" brushRef="#br0" timeOffset="18305.91">27553 11245 238 0,'-11'-29'211'15,"-5"-2"-47"-15,-3 2-20 0,1 0-9 0,-5 4-12 16,-2 2 0-16,1 4-40 0,-1 2 6 0,0 3-42 16,-5 2 21-16,2 2-26 0,-4 4 16 0,5 2-17 15,-3 4 0-15,-5 3-5 0,-1 3-4 0,-6 3 1 16,-1 6-2-16,-2 4-6 0,-5 8-1 0,-1 2-25 15,4 8 22-15,-2 1-21 0,2 5-2 0,2 6 12 16,2 5-4-16,1 4 21 0,3 4-24 0,2 3 17 16,1 2-26-16,3 2 22 0,1 2 10 0,5 1-70 15,0 3 137-15,5 1-5 0,1 2 17 0,3 1-29 16,3 1 5-16,3-1-15 0,0 0 13 0,3-3-20 16,2-1-7-16,1-1-7 0,3-2-11 0,2-2-2 15,1 0-2-15,1 0-11 0,2-5 3 0,1 3-2 16,2-6-2-16,-1-8 1 0,2-1-10 0,3-1 5 0,-1-3-2 15,1-1-1-15,0-3-4 0,4-2 3 16,-1-4-1-16,0-1 2 0,2-1-3 0,1-5 12 16,3 1-4-16,1-5 4 0,2-3-8 0,3-2-1 15,1-5-6-15,0-2 6 0,3-3-13 0,3-3 12 16,4-2 4-16,1-2-3 0,2-2-6 0,10-3 0 0,-2-2 0 16,4-6-2-16,2-1 2 0,-1-3-5 15,10-7 19-15,0-1-19 0,3-6 19 0,0-2-11 0,1-7 22 16,-3-3-2-16,3-7 29 0,9-13-25 0,-3-7 32 15,-3-3-7-15,-3-5 35 0,-3-5-8 16,-6-3 6-16,-3-3 32 0,-5-2 5 0,-5-4-1 16,-4 1-1-16,-11 12 1 0,-3 3 19 0,-6 1-27 0,-3 0-20 15,-7 2-19-15,-6-1-17 0,-5 2-12 0,-6 0-11 16,-6 1-6-16,-8 1-10 0,-9 1-7 0,-7 2-1 16,-11 4 0-16,-17-6-5 0,-8 7 5 0,-8 7-4 15,-6 6-22-15,-3 6-43 0,-7 6-26 0,-6 5-34 16,-7 6-48-16,15 9-50 0,-7 5-53 0,1 6-84 15,-2 8-84-15,-1 2-595 0,-14 11-642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D26617-41EB-4C35-BF72-A76DC7563ED6}" type="datetimeFigureOut">
              <a:rPr lang="en-US" smtClean="0"/>
              <a:t>10/1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4327AB-93B4-428D-AAA4-A9BD1892CD2A}" type="slidenum">
              <a:rPr lang="en-US" smtClean="0"/>
              <a:t>‹#›</a:t>
            </a:fld>
            <a:endParaRPr lang="en-US"/>
          </a:p>
        </p:txBody>
      </p:sp>
    </p:spTree>
    <p:extLst>
      <p:ext uri="{BB962C8B-B14F-4D97-AF65-F5344CB8AC3E}">
        <p14:creationId xmlns:p14="http://schemas.microsoft.com/office/powerpoint/2010/main" val="9653092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9E64DF-BA83-4ABB-8A50-A1E5EC8553C3}" type="slidenum">
              <a:rPr lang="en-US" smtClean="0"/>
              <a:t>8</a:t>
            </a:fld>
            <a:endParaRPr lang="en-US"/>
          </a:p>
        </p:txBody>
      </p:sp>
    </p:spTree>
    <p:extLst>
      <p:ext uri="{BB962C8B-B14F-4D97-AF65-F5344CB8AC3E}">
        <p14:creationId xmlns:p14="http://schemas.microsoft.com/office/powerpoint/2010/main" val="643522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zone.com/articles/10-interesting-use-cases-for-the-k-means-algorithm</a:t>
            </a:r>
          </a:p>
          <a:p>
            <a:r>
              <a:rPr lang="en-US" dirty="0"/>
              <a:t>https://datafloq.com/read/7-innovative-uses-of-clustering-algorithms/6224</a:t>
            </a:r>
          </a:p>
          <a:p>
            <a:endParaRPr lang="en-US" dirty="0"/>
          </a:p>
        </p:txBody>
      </p:sp>
      <p:sp>
        <p:nvSpPr>
          <p:cNvPr id="4" name="Slide Number Placeholder 3"/>
          <p:cNvSpPr>
            <a:spLocks noGrp="1"/>
          </p:cNvSpPr>
          <p:nvPr>
            <p:ph type="sldNum" sz="quarter" idx="5"/>
          </p:nvPr>
        </p:nvSpPr>
        <p:spPr/>
        <p:txBody>
          <a:bodyPr/>
          <a:lstStyle/>
          <a:p>
            <a:fld id="{714327AB-93B4-428D-AAA4-A9BD1892CD2A}" type="slidenum">
              <a:rPr lang="en-US" smtClean="0"/>
              <a:t>14</a:t>
            </a:fld>
            <a:endParaRPr lang="en-US"/>
          </a:p>
        </p:txBody>
      </p:sp>
    </p:spTree>
    <p:extLst>
      <p:ext uri="{BB962C8B-B14F-4D97-AF65-F5344CB8AC3E}">
        <p14:creationId xmlns:p14="http://schemas.microsoft.com/office/powerpoint/2010/main" val="6979789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BB11A-3AC0-434C-B4FF-70A6B968EA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A1B67F-47B8-4B61-A046-2C0A18010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457040-9E50-4B24-AB59-803911A0FE0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D30966B5-AB56-4C7B-B7A1-E8A021BE2B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C91D68-FC88-4546-B2D0-81276E189B49}"/>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9549631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423DA-4C4C-48E7-B264-7C5F79C6C9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3D6847-6860-4F67-8680-24BED6B10F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6F04D0-47B6-4232-B16D-3055EB1248D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9E6FC615-9942-49C8-8ACC-4FEBA1932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E82E9-8155-4B52-9983-01C321258AE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3740473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37C99E-6CCD-433D-858A-A815248E29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67D71F-5205-4217-8274-4BCCA71253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72F0CB-BC56-4DE2-84FB-D1AB50DD4C9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64F91C7B-0841-4AD3-8A96-A36C5E1EEB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583E9-0708-43C1-96B6-7F1C5717132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808476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BB11A-3AC0-434C-B4FF-70A6B968EA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A1B67F-47B8-4B61-A046-2C0A18010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457040-9E50-4B24-AB59-803911A0FE0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D30966B5-AB56-4C7B-B7A1-E8A021BE2B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C91D68-FC88-4546-B2D0-81276E189B49}"/>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855028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82DA8-5564-4705-8FE1-C900651BD5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97861-F13F-4F53-A8A6-17E577364C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4CFEF8-55FB-4CA0-9988-DAED1A3B419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45BC619C-5687-419D-8ECD-58D5A90C9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663CA-4980-4605-A431-8B7050BB24F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668696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FE8E8-FA03-40B5-A953-7BF2CA9413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D73F3E4-4E91-438A-BFBF-A6646F0225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529E4D-87BC-4329-A613-487470A1DBB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A8C0381B-3F35-48AA-886A-F38512DC5B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C949E-7FF9-44DB-AA21-AB91459C1A75}"/>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4278720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2F810-59D4-400B-A5B7-10D15B72E4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E5C2A1-9F34-4FC3-9ABB-85E68DF09C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44320C-78BB-4E65-89B4-57AB1763E8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77B704-7DD2-4C67-9D5A-3835C6E280B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39E3D24C-D65A-41A5-9556-B0E5383DE4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20DB4E-A9AA-42EB-A490-79ADDECBF07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619567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6DABA-31C2-4BA9-AC61-1176E5CB39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ECFD6D-5D89-4C4F-B820-3F7C6A5B26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8EDC86-65D4-4EA0-865C-BC190FF5F8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1A036B-10D7-4830-A359-2A4CA6DCC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0D1F87-09F6-4776-B436-EBFDB65CBA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C50A69-1121-44F9-8384-7D774925355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8" name="Footer Placeholder 7">
            <a:extLst>
              <a:ext uri="{FF2B5EF4-FFF2-40B4-BE49-F238E27FC236}">
                <a16:creationId xmlns:a16="http://schemas.microsoft.com/office/drawing/2014/main" id="{F148D2DA-60E0-4B81-AF0C-C18C975F86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710258B-6DB2-4DED-BB5E-14BD3C142B0A}"/>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4305886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4DDA9-2601-4716-9FA6-A0928F1608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D0C461-5DDC-4C69-852F-2D87165CE44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4" name="Footer Placeholder 3">
            <a:extLst>
              <a:ext uri="{FF2B5EF4-FFF2-40B4-BE49-F238E27FC236}">
                <a16:creationId xmlns:a16="http://schemas.microsoft.com/office/drawing/2014/main" id="{20E27204-4B03-4DE4-B951-CDC0095133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82A885-565F-433F-8110-BF46E0186654}"/>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5531345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D4582A-A0EB-4C4F-9515-1C55779134C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3" name="Footer Placeholder 2">
            <a:extLst>
              <a:ext uri="{FF2B5EF4-FFF2-40B4-BE49-F238E27FC236}">
                <a16:creationId xmlns:a16="http://schemas.microsoft.com/office/drawing/2014/main" id="{4B729B42-FDB1-4695-ADBB-450164D3CA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7763F8-8DFB-4D13-8DD3-4C2FEDBC7D68}"/>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6881812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55AC2-F7CC-487F-A8CC-F3ADE8BBB6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E0DF6B-F125-4258-8F5F-35959A1EBD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E13504-3657-4F8A-95DD-C3E4CC87A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4F5D69-52E0-41D4-8A03-A0313B8BE893}"/>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8DD5C4D3-C1EB-45C9-A068-DCB3950283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720344-8847-42BB-86F3-4D38F8355E21}"/>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5240813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82DA8-5564-4705-8FE1-C900651BD5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97861-F13F-4F53-A8A6-17E577364C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4CFEF8-55FB-4CA0-9988-DAED1A3B419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45BC619C-5687-419D-8ECD-58D5A90C9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663CA-4980-4605-A431-8B7050BB24F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55827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0084-9EAD-4BF6-A179-94F2055538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344925-4E5C-4F97-A277-5082CFEFD0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92CF2C-8F01-47C7-93F3-392C47636E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872D15-D57F-405D-9246-B887F19987D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F19082CC-0E19-4296-AA74-A3E10C52BB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346B94-D249-403D-84E1-964D2A95066D}"/>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7961314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423DA-4C4C-48E7-B264-7C5F79C6C9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3D6847-6860-4F67-8680-24BED6B10F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6F04D0-47B6-4232-B16D-3055EB1248D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9E6FC615-9942-49C8-8ACC-4FEBA1932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E82E9-8155-4B52-9983-01C321258AE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4426174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37C99E-6CCD-433D-858A-A815248E29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67D71F-5205-4217-8274-4BCCA71253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72F0CB-BC56-4DE2-84FB-D1AB50DD4C9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64F91C7B-0841-4AD3-8A96-A36C5E1EEB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583E9-0708-43C1-96B6-7F1C5717132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9868030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BB11A-3AC0-434C-B4FF-70A6B968EA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A1B67F-47B8-4B61-A046-2C0A18010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457040-9E50-4B24-AB59-803911A0FE0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D30966B5-AB56-4C7B-B7A1-E8A021BE2B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C91D68-FC88-4546-B2D0-81276E189B49}"/>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5574803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82DA8-5564-4705-8FE1-C900651BD5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97861-F13F-4F53-A8A6-17E577364C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4CFEF8-55FB-4CA0-9988-DAED1A3B419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45BC619C-5687-419D-8ECD-58D5A90C9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663CA-4980-4605-A431-8B7050BB24F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707058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FE8E8-FA03-40B5-A953-7BF2CA9413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D73F3E4-4E91-438A-BFBF-A6646F0225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529E4D-87BC-4329-A613-487470A1DBB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A8C0381B-3F35-48AA-886A-F38512DC5B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C949E-7FF9-44DB-AA21-AB91459C1A75}"/>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0855287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2F810-59D4-400B-A5B7-10D15B72E4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E5C2A1-9F34-4FC3-9ABB-85E68DF09C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44320C-78BB-4E65-89B4-57AB1763E8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77B704-7DD2-4C67-9D5A-3835C6E280B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39E3D24C-D65A-41A5-9556-B0E5383DE4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20DB4E-A9AA-42EB-A490-79ADDECBF07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558285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6DABA-31C2-4BA9-AC61-1176E5CB39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ECFD6D-5D89-4C4F-B820-3F7C6A5B26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8EDC86-65D4-4EA0-865C-BC190FF5F8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1A036B-10D7-4830-A359-2A4CA6DCC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0D1F87-09F6-4776-B436-EBFDB65CBA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C50A69-1121-44F9-8384-7D774925355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8" name="Footer Placeholder 7">
            <a:extLst>
              <a:ext uri="{FF2B5EF4-FFF2-40B4-BE49-F238E27FC236}">
                <a16:creationId xmlns:a16="http://schemas.microsoft.com/office/drawing/2014/main" id="{F148D2DA-60E0-4B81-AF0C-C18C975F86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710258B-6DB2-4DED-BB5E-14BD3C142B0A}"/>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4005919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4DDA9-2601-4716-9FA6-A0928F1608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D0C461-5DDC-4C69-852F-2D87165CE44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4" name="Footer Placeholder 3">
            <a:extLst>
              <a:ext uri="{FF2B5EF4-FFF2-40B4-BE49-F238E27FC236}">
                <a16:creationId xmlns:a16="http://schemas.microsoft.com/office/drawing/2014/main" id="{20E27204-4B03-4DE4-B951-CDC0095133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82A885-565F-433F-8110-BF46E0186654}"/>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3426021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D4582A-A0EB-4C4F-9515-1C55779134C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3" name="Footer Placeholder 2">
            <a:extLst>
              <a:ext uri="{FF2B5EF4-FFF2-40B4-BE49-F238E27FC236}">
                <a16:creationId xmlns:a16="http://schemas.microsoft.com/office/drawing/2014/main" id="{4B729B42-FDB1-4695-ADBB-450164D3CA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7763F8-8DFB-4D13-8DD3-4C2FEDBC7D68}"/>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8846342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FE8E8-FA03-40B5-A953-7BF2CA9413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D73F3E4-4E91-438A-BFBF-A6646F0225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529E4D-87BC-4329-A613-487470A1DBB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A8C0381B-3F35-48AA-886A-F38512DC5B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C949E-7FF9-44DB-AA21-AB91459C1A75}"/>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5621181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55AC2-F7CC-487F-A8CC-F3ADE8BBB6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E0DF6B-F125-4258-8F5F-35959A1EBD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E13504-3657-4F8A-95DD-C3E4CC87A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4F5D69-52E0-41D4-8A03-A0313B8BE893}"/>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8DD5C4D3-C1EB-45C9-A068-DCB3950283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720344-8847-42BB-86F3-4D38F8355E21}"/>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958142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0084-9EAD-4BF6-A179-94F2055538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344925-4E5C-4F97-A277-5082CFEFD0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92CF2C-8F01-47C7-93F3-392C47636E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872D15-D57F-405D-9246-B887F19987D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F19082CC-0E19-4296-AA74-A3E10C52BB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346B94-D249-403D-84E1-964D2A95066D}"/>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20628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423DA-4C4C-48E7-B264-7C5F79C6C9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3D6847-6860-4F67-8680-24BED6B10F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6F04D0-47B6-4232-B16D-3055EB1248D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9E6FC615-9942-49C8-8ACC-4FEBA1932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E82E9-8155-4B52-9983-01C321258AE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7078486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37C99E-6CCD-433D-858A-A815248E29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67D71F-5205-4217-8274-4BCCA71253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72F0CB-BC56-4DE2-84FB-D1AB50DD4C9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64F91C7B-0841-4AD3-8A96-A36C5E1EEB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583E9-0708-43C1-96B6-7F1C5717132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6869590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BB11A-3AC0-434C-B4FF-70A6B968EA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A1B67F-47B8-4B61-A046-2C0A18010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457040-9E50-4B24-AB59-803911A0FE0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D30966B5-AB56-4C7B-B7A1-E8A021BE2B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C91D68-FC88-4546-B2D0-81276E189B49}"/>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41841642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82DA8-5564-4705-8FE1-C900651BD5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97861-F13F-4F53-A8A6-17E577364C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4CFEF8-55FB-4CA0-9988-DAED1A3B419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45BC619C-5687-419D-8ECD-58D5A90C9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663CA-4980-4605-A431-8B7050BB24F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0545631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FE8E8-FA03-40B5-A953-7BF2CA9413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D73F3E4-4E91-438A-BFBF-A6646F0225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529E4D-87BC-4329-A613-487470A1DBB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A8C0381B-3F35-48AA-886A-F38512DC5B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C949E-7FF9-44DB-AA21-AB91459C1A75}"/>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5451716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2F810-59D4-400B-A5B7-10D15B72E4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E5C2A1-9F34-4FC3-9ABB-85E68DF09C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44320C-78BB-4E65-89B4-57AB1763E8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77B704-7DD2-4C67-9D5A-3835C6E280B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39E3D24C-D65A-41A5-9556-B0E5383DE4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20DB4E-A9AA-42EB-A490-79ADDECBF07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3906217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6DABA-31C2-4BA9-AC61-1176E5CB39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ECFD6D-5D89-4C4F-B820-3F7C6A5B26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8EDC86-65D4-4EA0-865C-BC190FF5F8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1A036B-10D7-4830-A359-2A4CA6DCC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0D1F87-09F6-4776-B436-EBFDB65CBA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C50A69-1121-44F9-8384-7D774925355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8" name="Footer Placeholder 7">
            <a:extLst>
              <a:ext uri="{FF2B5EF4-FFF2-40B4-BE49-F238E27FC236}">
                <a16:creationId xmlns:a16="http://schemas.microsoft.com/office/drawing/2014/main" id="{F148D2DA-60E0-4B81-AF0C-C18C975F86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710258B-6DB2-4DED-BB5E-14BD3C142B0A}"/>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5084401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4DDA9-2601-4716-9FA6-A0928F1608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D0C461-5DDC-4C69-852F-2D87165CE44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4" name="Footer Placeholder 3">
            <a:extLst>
              <a:ext uri="{FF2B5EF4-FFF2-40B4-BE49-F238E27FC236}">
                <a16:creationId xmlns:a16="http://schemas.microsoft.com/office/drawing/2014/main" id="{20E27204-4B03-4DE4-B951-CDC0095133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82A885-565F-433F-8110-BF46E0186654}"/>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404098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2F810-59D4-400B-A5B7-10D15B72E4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E5C2A1-9F34-4FC3-9ABB-85E68DF09C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44320C-78BB-4E65-89B4-57AB1763E8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77B704-7DD2-4C67-9D5A-3835C6E280B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39E3D24C-D65A-41A5-9556-B0E5383DE4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20DB4E-A9AA-42EB-A490-79ADDECBF07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5035556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D4582A-A0EB-4C4F-9515-1C55779134C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3" name="Footer Placeholder 2">
            <a:extLst>
              <a:ext uri="{FF2B5EF4-FFF2-40B4-BE49-F238E27FC236}">
                <a16:creationId xmlns:a16="http://schemas.microsoft.com/office/drawing/2014/main" id="{4B729B42-FDB1-4695-ADBB-450164D3CA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7763F8-8DFB-4D13-8DD3-4C2FEDBC7D68}"/>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723976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55AC2-F7CC-487F-A8CC-F3ADE8BBB6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E0DF6B-F125-4258-8F5F-35959A1EBD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E13504-3657-4F8A-95DD-C3E4CC87A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4F5D69-52E0-41D4-8A03-A0313B8BE893}"/>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8DD5C4D3-C1EB-45C9-A068-DCB3950283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720344-8847-42BB-86F3-4D38F8355E21}"/>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6405700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0084-9EAD-4BF6-A179-94F2055538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344925-4E5C-4F97-A277-5082CFEFD0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92CF2C-8F01-47C7-93F3-392C47636E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872D15-D57F-405D-9246-B887F19987D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F19082CC-0E19-4296-AA74-A3E10C52BB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346B94-D249-403D-84E1-964D2A95066D}"/>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0831476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423DA-4C4C-48E7-B264-7C5F79C6C9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3D6847-6860-4F67-8680-24BED6B10F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6F04D0-47B6-4232-B16D-3055EB1248D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9E6FC615-9942-49C8-8ACC-4FEBA1932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E82E9-8155-4B52-9983-01C321258AE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8939050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37C99E-6CCD-433D-858A-A815248E29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67D71F-5205-4217-8274-4BCCA71253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72F0CB-BC56-4DE2-84FB-D1AB50DD4C9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64F91C7B-0841-4AD3-8A96-A36C5E1EEB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583E9-0708-43C1-96B6-7F1C5717132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3314484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BB11A-3AC0-434C-B4FF-70A6B968EA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A1B67F-47B8-4B61-A046-2C0A18010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457040-9E50-4B24-AB59-803911A0FE0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D30966B5-AB56-4C7B-B7A1-E8A021BE2B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C91D68-FC88-4546-B2D0-81276E189B49}"/>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4917795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82DA8-5564-4705-8FE1-C900651BD5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97861-F13F-4F53-A8A6-17E577364C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4CFEF8-55FB-4CA0-9988-DAED1A3B419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45BC619C-5687-419D-8ECD-58D5A90C9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663CA-4980-4605-A431-8B7050BB24F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7440846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FE8E8-FA03-40B5-A953-7BF2CA9413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D73F3E4-4E91-438A-BFBF-A6646F0225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529E4D-87BC-4329-A613-487470A1DBB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A8C0381B-3F35-48AA-886A-F38512DC5B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C949E-7FF9-44DB-AA21-AB91459C1A75}"/>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6462257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2F810-59D4-400B-A5B7-10D15B72E4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E5C2A1-9F34-4FC3-9ABB-85E68DF09C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44320C-78BB-4E65-89B4-57AB1763E8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77B704-7DD2-4C67-9D5A-3835C6E280B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39E3D24C-D65A-41A5-9556-B0E5383DE4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20DB4E-A9AA-42EB-A490-79ADDECBF07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40275342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6DABA-31C2-4BA9-AC61-1176E5CB39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ECFD6D-5D89-4C4F-B820-3F7C6A5B26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8EDC86-65D4-4EA0-865C-BC190FF5F8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1A036B-10D7-4830-A359-2A4CA6DCC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0D1F87-09F6-4776-B436-EBFDB65CBA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C50A69-1121-44F9-8384-7D774925355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8" name="Footer Placeholder 7">
            <a:extLst>
              <a:ext uri="{FF2B5EF4-FFF2-40B4-BE49-F238E27FC236}">
                <a16:creationId xmlns:a16="http://schemas.microsoft.com/office/drawing/2014/main" id="{F148D2DA-60E0-4B81-AF0C-C18C975F86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710258B-6DB2-4DED-BB5E-14BD3C142B0A}"/>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4330323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6DABA-31C2-4BA9-AC61-1176E5CB39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ECFD6D-5D89-4C4F-B820-3F7C6A5B26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8EDC86-65D4-4EA0-865C-BC190FF5F8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1A036B-10D7-4830-A359-2A4CA6DCC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0D1F87-09F6-4776-B436-EBFDB65CBA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C50A69-1121-44F9-8384-7D774925355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8" name="Footer Placeholder 7">
            <a:extLst>
              <a:ext uri="{FF2B5EF4-FFF2-40B4-BE49-F238E27FC236}">
                <a16:creationId xmlns:a16="http://schemas.microsoft.com/office/drawing/2014/main" id="{F148D2DA-60E0-4B81-AF0C-C18C975F86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710258B-6DB2-4DED-BB5E-14BD3C142B0A}"/>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5109414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4DDA9-2601-4716-9FA6-A0928F1608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D0C461-5DDC-4C69-852F-2D87165CE44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4" name="Footer Placeholder 3">
            <a:extLst>
              <a:ext uri="{FF2B5EF4-FFF2-40B4-BE49-F238E27FC236}">
                <a16:creationId xmlns:a16="http://schemas.microsoft.com/office/drawing/2014/main" id="{20E27204-4B03-4DE4-B951-CDC0095133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82A885-565F-433F-8110-BF46E0186654}"/>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0466441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D4582A-A0EB-4C4F-9515-1C55779134C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3" name="Footer Placeholder 2">
            <a:extLst>
              <a:ext uri="{FF2B5EF4-FFF2-40B4-BE49-F238E27FC236}">
                <a16:creationId xmlns:a16="http://schemas.microsoft.com/office/drawing/2014/main" id="{4B729B42-FDB1-4695-ADBB-450164D3CA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7763F8-8DFB-4D13-8DD3-4C2FEDBC7D68}"/>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0626307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55AC2-F7CC-487F-A8CC-F3ADE8BBB6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E0DF6B-F125-4258-8F5F-35959A1EBD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E13504-3657-4F8A-95DD-C3E4CC87A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4F5D69-52E0-41D4-8A03-A0313B8BE893}"/>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8DD5C4D3-C1EB-45C9-A068-DCB3950283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720344-8847-42BB-86F3-4D38F8355E21}"/>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6616630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0084-9EAD-4BF6-A179-94F2055538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344925-4E5C-4F97-A277-5082CFEFD0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92CF2C-8F01-47C7-93F3-392C47636E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872D15-D57F-405D-9246-B887F19987D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F19082CC-0E19-4296-AA74-A3E10C52BB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346B94-D249-403D-84E1-964D2A95066D}"/>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6877077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423DA-4C4C-48E7-B264-7C5F79C6C9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3D6847-6860-4F67-8680-24BED6B10F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6F04D0-47B6-4232-B16D-3055EB1248D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9E6FC615-9942-49C8-8ACC-4FEBA1932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E82E9-8155-4B52-9983-01C321258AE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5285632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37C99E-6CCD-433D-858A-A815248E29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67D71F-5205-4217-8274-4BCCA71253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72F0CB-BC56-4DE2-84FB-D1AB50DD4C9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64F91C7B-0841-4AD3-8A96-A36C5E1EEB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583E9-0708-43C1-96B6-7F1C5717132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40523382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BB11A-3AC0-434C-B4FF-70A6B968EA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A1B67F-47B8-4B61-A046-2C0A18010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457040-9E50-4B24-AB59-803911A0FE0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D30966B5-AB56-4C7B-B7A1-E8A021BE2B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C91D68-FC88-4546-B2D0-81276E189B49}"/>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1640218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82DA8-5564-4705-8FE1-C900651BD5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97861-F13F-4F53-A8A6-17E577364C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4CFEF8-55FB-4CA0-9988-DAED1A3B419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45BC619C-5687-419D-8ECD-58D5A90C9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663CA-4980-4605-A431-8B7050BB24F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1139999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FE8E8-FA03-40B5-A953-7BF2CA9413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D73F3E4-4E91-438A-BFBF-A6646F0225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529E4D-87BC-4329-A613-487470A1DBB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A8C0381B-3F35-48AA-886A-F38512DC5B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C949E-7FF9-44DB-AA21-AB91459C1A75}"/>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4472274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2F810-59D4-400B-A5B7-10D15B72E4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E5C2A1-9F34-4FC3-9ABB-85E68DF09C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44320C-78BB-4E65-89B4-57AB1763E8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77B704-7DD2-4C67-9D5A-3835C6E280B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39E3D24C-D65A-41A5-9556-B0E5383DE4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20DB4E-A9AA-42EB-A490-79ADDECBF07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6353618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4DDA9-2601-4716-9FA6-A0928F1608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D0C461-5DDC-4C69-852F-2D87165CE44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4" name="Footer Placeholder 3">
            <a:extLst>
              <a:ext uri="{FF2B5EF4-FFF2-40B4-BE49-F238E27FC236}">
                <a16:creationId xmlns:a16="http://schemas.microsoft.com/office/drawing/2014/main" id="{20E27204-4B03-4DE4-B951-CDC0095133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82A885-565F-433F-8110-BF46E0186654}"/>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5333665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6DABA-31C2-4BA9-AC61-1176E5CB39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ECFD6D-5D89-4C4F-B820-3F7C6A5B26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8EDC86-65D4-4EA0-865C-BC190FF5F8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1A036B-10D7-4830-A359-2A4CA6DCC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0D1F87-09F6-4776-B436-EBFDB65CBA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C50A69-1121-44F9-8384-7D774925355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8" name="Footer Placeholder 7">
            <a:extLst>
              <a:ext uri="{FF2B5EF4-FFF2-40B4-BE49-F238E27FC236}">
                <a16:creationId xmlns:a16="http://schemas.microsoft.com/office/drawing/2014/main" id="{F148D2DA-60E0-4B81-AF0C-C18C975F86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710258B-6DB2-4DED-BB5E-14BD3C142B0A}"/>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5516850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4DDA9-2601-4716-9FA6-A0928F1608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D0C461-5DDC-4C69-852F-2D87165CE44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4" name="Footer Placeholder 3">
            <a:extLst>
              <a:ext uri="{FF2B5EF4-FFF2-40B4-BE49-F238E27FC236}">
                <a16:creationId xmlns:a16="http://schemas.microsoft.com/office/drawing/2014/main" id="{20E27204-4B03-4DE4-B951-CDC0095133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82A885-565F-433F-8110-BF46E0186654}"/>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7486748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D4582A-A0EB-4C4F-9515-1C55779134C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3" name="Footer Placeholder 2">
            <a:extLst>
              <a:ext uri="{FF2B5EF4-FFF2-40B4-BE49-F238E27FC236}">
                <a16:creationId xmlns:a16="http://schemas.microsoft.com/office/drawing/2014/main" id="{4B729B42-FDB1-4695-ADBB-450164D3CA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7763F8-8DFB-4D13-8DD3-4C2FEDBC7D68}"/>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1043072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55AC2-F7CC-487F-A8CC-F3ADE8BBB6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E0DF6B-F125-4258-8F5F-35959A1EBD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E13504-3657-4F8A-95DD-C3E4CC87A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4F5D69-52E0-41D4-8A03-A0313B8BE893}"/>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8DD5C4D3-C1EB-45C9-A068-DCB3950283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720344-8847-42BB-86F3-4D38F8355E21}"/>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9819208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0084-9EAD-4BF6-A179-94F2055538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344925-4E5C-4F97-A277-5082CFEFD0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92CF2C-8F01-47C7-93F3-392C47636E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872D15-D57F-405D-9246-B887F19987D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F19082CC-0E19-4296-AA74-A3E10C52BB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346B94-D249-403D-84E1-964D2A95066D}"/>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4001148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423DA-4C4C-48E7-B264-7C5F79C6C9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3D6847-6860-4F67-8680-24BED6B10F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6F04D0-47B6-4232-B16D-3055EB1248D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9E6FC615-9942-49C8-8ACC-4FEBA1932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E82E9-8155-4B52-9983-01C321258AE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4733083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37C99E-6CCD-433D-858A-A815248E29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67D71F-5205-4217-8274-4BCCA71253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72F0CB-BC56-4DE2-84FB-D1AB50DD4C9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64F91C7B-0841-4AD3-8A96-A36C5E1EEB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583E9-0708-43C1-96B6-7F1C5717132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8684867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BB11A-3AC0-434C-B4FF-70A6B968EA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A1B67F-47B8-4B61-A046-2C0A18010E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457040-9E50-4B24-AB59-803911A0FE0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D30966B5-AB56-4C7B-B7A1-E8A021BE2B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C91D68-FC88-4546-B2D0-81276E189B49}"/>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3583371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82DA8-5564-4705-8FE1-C900651BD5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97861-F13F-4F53-A8A6-17E577364C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4CFEF8-55FB-4CA0-9988-DAED1A3B419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45BC619C-5687-419D-8ECD-58D5A90C9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663CA-4980-4605-A431-8B7050BB24F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9100044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FE8E8-FA03-40B5-A953-7BF2CA9413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D73F3E4-4E91-438A-BFBF-A6646F0225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529E4D-87BC-4329-A613-487470A1DBB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A8C0381B-3F35-48AA-886A-F38512DC5B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C949E-7FF9-44DB-AA21-AB91459C1A75}"/>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1687093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D4582A-A0EB-4C4F-9515-1C55779134C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3" name="Footer Placeholder 2">
            <a:extLst>
              <a:ext uri="{FF2B5EF4-FFF2-40B4-BE49-F238E27FC236}">
                <a16:creationId xmlns:a16="http://schemas.microsoft.com/office/drawing/2014/main" id="{4B729B42-FDB1-4695-ADBB-450164D3CA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7763F8-8DFB-4D13-8DD3-4C2FEDBC7D68}"/>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9878463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2F810-59D4-400B-A5B7-10D15B72E4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E5C2A1-9F34-4FC3-9ABB-85E68DF09C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44320C-78BB-4E65-89B4-57AB1763E8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F77B704-7DD2-4C67-9D5A-3835C6E280B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39E3D24C-D65A-41A5-9556-B0E5383DE4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20DB4E-A9AA-42EB-A490-79ADDECBF07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3818355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6DABA-31C2-4BA9-AC61-1176E5CB39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ECFD6D-5D89-4C4F-B820-3F7C6A5B26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8EDC86-65D4-4EA0-865C-BC190FF5F8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1A036B-10D7-4830-A359-2A4CA6DCC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0D1F87-09F6-4776-B436-EBFDB65CBA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C50A69-1121-44F9-8384-7D774925355D}"/>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8" name="Footer Placeholder 7">
            <a:extLst>
              <a:ext uri="{FF2B5EF4-FFF2-40B4-BE49-F238E27FC236}">
                <a16:creationId xmlns:a16="http://schemas.microsoft.com/office/drawing/2014/main" id="{F148D2DA-60E0-4B81-AF0C-C18C975F86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710258B-6DB2-4DED-BB5E-14BD3C142B0A}"/>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0413557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4DDA9-2601-4716-9FA6-A0928F1608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D0C461-5DDC-4C69-852F-2D87165CE445}"/>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4" name="Footer Placeholder 3">
            <a:extLst>
              <a:ext uri="{FF2B5EF4-FFF2-40B4-BE49-F238E27FC236}">
                <a16:creationId xmlns:a16="http://schemas.microsoft.com/office/drawing/2014/main" id="{20E27204-4B03-4DE4-B951-CDC0095133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682A885-565F-433F-8110-BF46E0186654}"/>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2432665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D4582A-A0EB-4C4F-9515-1C55779134CC}"/>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3" name="Footer Placeholder 2">
            <a:extLst>
              <a:ext uri="{FF2B5EF4-FFF2-40B4-BE49-F238E27FC236}">
                <a16:creationId xmlns:a16="http://schemas.microsoft.com/office/drawing/2014/main" id="{4B729B42-FDB1-4695-ADBB-450164D3CA2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7763F8-8DFB-4D13-8DD3-4C2FEDBC7D68}"/>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4941505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55AC2-F7CC-487F-A8CC-F3ADE8BBB6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E0DF6B-F125-4258-8F5F-35959A1EBD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E13504-3657-4F8A-95DD-C3E4CC87A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4F5D69-52E0-41D4-8A03-A0313B8BE893}"/>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8DD5C4D3-C1EB-45C9-A068-DCB3950283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720344-8847-42BB-86F3-4D38F8355E21}"/>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2591707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0084-9EAD-4BF6-A179-94F2055538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344925-4E5C-4F97-A277-5082CFEFD0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92CF2C-8F01-47C7-93F3-392C47636E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872D15-D57F-405D-9246-B887F19987D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F19082CC-0E19-4296-AA74-A3E10C52BB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346B94-D249-403D-84E1-964D2A95066D}"/>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0939844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423DA-4C4C-48E7-B264-7C5F79C6C9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3D6847-6860-4F67-8680-24BED6B10F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6F04D0-47B6-4232-B16D-3055EB1248D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9E6FC615-9942-49C8-8ACC-4FEBA1932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FE82E9-8155-4B52-9983-01C321258AEC}"/>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1497439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37C99E-6CCD-433D-858A-A815248E29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67D71F-5205-4217-8274-4BCCA71253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72F0CB-BC56-4DE2-84FB-D1AB50DD4C96}"/>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64F91C7B-0841-4AD3-8A96-A36C5E1EEB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583E9-0708-43C1-96B6-7F1C57171326}"/>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4500958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55AC2-F7CC-487F-A8CC-F3ADE8BBB6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E0DF6B-F125-4258-8F5F-35959A1EBD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E13504-3657-4F8A-95DD-C3E4CC87AF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4F5D69-52E0-41D4-8A03-A0313B8BE893}"/>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8DD5C4D3-C1EB-45C9-A068-DCB3950283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720344-8847-42BB-86F3-4D38F8355E21}"/>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2220185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0084-9EAD-4BF6-A179-94F2055538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E344925-4E5C-4F97-A277-5082CFEFD0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92CF2C-8F01-47C7-93F3-392C47636E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872D15-D57F-405D-9246-B887F19987D9}"/>
              </a:ext>
            </a:extLst>
          </p:cNvPr>
          <p:cNvSpPr>
            <a:spLocks noGrp="1"/>
          </p:cNvSpPr>
          <p:nvPr>
            <p:ph type="dt" sz="half" idx="10"/>
          </p:nvPr>
        </p:nvSpPr>
        <p:spPr/>
        <p:txBody>
          <a:bodyPr/>
          <a:lstStyle/>
          <a:p>
            <a:fld id="{07BCB50A-8290-4F16-80D8-004087C8170C}" type="datetimeFigureOut">
              <a:rPr lang="en-US" smtClean="0"/>
              <a:t>10/16/2021</a:t>
            </a:fld>
            <a:endParaRPr lang="en-US"/>
          </a:p>
        </p:txBody>
      </p:sp>
      <p:sp>
        <p:nvSpPr>
          <p:cNvPr id="6" name="Footer Placeholder 5">
            <a:extLst>
              <a:ext uri="{FF2B5EF4-FFF2-40B4-BE49-F238E27FC236}">
                <a16:creationId xmlns:a16="http://schemas.microsoft.com/office/drawing/2014/main" id="{F19082CC-0E19-4296-AA74-A3E10C52BB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346B94-D249-403D-84E1-964D2A95066D}"/>
              </a:ext>
            </a:extLst>
          </p:cNvPr>
          <p:cNvSpPr>
            <a:spLocks noGrp="1"/>
          </p:cNvSpPr>
          <p:nvPr>
            <p:ph type="sldNum" sz="quarter" idx="12"/>
          </p:nvPr>
        </p:nvSpPr>
        <p:spPr/>
        <p:txBody>
          <a:bodyPr/>
          <a:lstStyle/>
          <a:p>
            <a:fld id="{3DD40800-6613-40BF-9834-7D24CEC1F049}" type="slidenum">
              <a:rPr lang="en-US" smtClean="0"/>
              <a:t>‹#›</a:t>
            </a:fld>
            <a:endParaRPr lang="en-US"/>
          </a:p>
        </p:txBody>
      </p:sp>
    </p:spTree>
    <p:extLst>
      <p:ext uri="{BB962C8B-B14F-4D97-AF65-F5344CB8AC3E}">
        <p14:creationId xmlns:p14="http://schemas.microsoft.com/office/powerpoint/2010/main" val="36437629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5.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1.emf"/><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6.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1.emf"/><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ags" Target="../tags/tag7.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emf"/><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8.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image" Target="../media/image1.emf"/><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B1018-31C9-485B-B873-64D4D061014D}"/>
              </a:ext>
            </a:extLst>
          </p:cNvPr>
          <p:cNvGraphicFramePr>
            <a:graphicFrameLocks noChangeAspect="1"/>
          </p:cNvGraphicFramePr>
          <p:nvPr userDrawn="1">
            <p:custDataLst>
              <p:tags r:id="rId13"/>
            </p:custDataLst>
            <p:extLst>
              <p:ext uri="{D42A27DB-BD31-4B8C-83A1-F6EECF244321}">
                <p14:modId xmlns:p14="http://schemas.microsoft.com/office/powerpoint/2010/main" val="300705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71CB1018-31C9-485B-B873-64D4D06101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BBF974-B860-4E02-B5BF-37B4E0A4E1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0200EE-C768-419D-8B98-D547FBA044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1FCA19-23FA-4F4E-9769-FC6ADDAECF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06C5DBBC-A759-4D16-A360-A626B8D2DB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F21E604-0EFE-4984-8461-FB304CD1DD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40800-6613-40BF-9834-7D24CEC1F049}" type="slidenum">
              <a:rPr lang="en-US" smtClean="0"/>
              <a:t>‹#›</a:t>
            </a:fld>
            <a:endParaRPr lang="en-US"/>
          </a:p>
        </p:txBody>
      </p:sp>
    </p:spTree>
    <p:extLst>
      <p:ext uri="{BB962C8B-B14F-4D97-AF65-F5344CB8AC3E}">
        <p14:creationId xmlns:p14="http://schemas.microsoft.com/office/powerpoint/2010/main" val="29186777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B1018-31C9-485B-B873-64D4D061014D}"/>
              </a:ext>
            </a:extLst>
          </p:cNvPr>
          <p:cNvGraphicFramePr>
            <a:graphicFrameLocks noChangeAspect="1"/>
          </p:cNvGraphicFramePr>
          <p:nvPr userDrawn="1">
            <p:custDataLst>
              <p:tags r:id="rId13"/>
            </p:custDataLst>
            <p:extLst>
              <p:ext uri="{D42A27DB-BD31-4B8C-83A1-F6EECF244321}">
                <p14:modId xmlns:p14="http://schemas.microsoft.com/office/powerpoint/2010/main" val="4151647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71CB1018-31C9-485B-B873-64D4D06101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BBF974-B860-4E02-B5BF-37B4E0A4E1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0200EE-C768-419D-8B98-D547FBA044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1FCA19-23FA-4F4E-9769-FC6ADDAECF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06C5DBBC-A759-4D16-A360-A626B8D2DB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F21E604-0EFE-4984-8461-FB304CD1DD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40800-6613-40BF-9834-7D24CEC1F049}" type="slidenum">
              <a:rPr lang="en-US" smtClean="0"/>
              <a:t>‹#›</a:t>
            </a:fld>
            <a:endParaRPr lang="en-US"/>
          </a:p>
        </p:txBody>
      </p:sp>
    </p:spTree>
    <p:extLst>
      <p:ext uri="{BB962C8B-B14F-4D97-AF65-F5344CB8AC3E}">
        <p14:creationId xmlns:p14="http://schemas.microsoft.com/office/powerpoint/2010/main" val="230098094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B1018-31C9-485B-B873-64D4D061014D}"/>
              </a:ext>
            </a:extLst>
          </p:cNvPr>
          <p:cNvGraphicFramePr>
            <a:graphicFrameLocks noChangeAspect="1"/>
          </p:cNvGraphicFramePr>
          <p:nvPr userDrawn="1">
            <p:custDataLst>
              <p:tags r:id="rId13"/>
            </p:custDataLst>
            <p:extLst>
              <p:ext uri="{D42A27DB-BD31-4B8C-83A1-F6EECF244321}">
                <p14:modId xmlns:p14="http://schemas.microsoft.com/office/powerpoint/2010/main" val="87163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71CB1018-31C9-485B-B873-64D4D06101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BBF974-B860-4E02-B5BF-37B4E0A4E1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0200EE-C768-419D-8B98-D547FBA044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1FCA19-23FA-4F4E-9769-FC6ADDAECF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06C5DBBC-A759-4D16-A360-A626B8D2DB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F21E604-0EFE-4984-8461-FB304CD1DD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40800-6613-40BF-9834-7D24CEC1F049}" type="slidenum">
              <a:rPr lang="en-US" smtClean="0"/>
              <a:t>‹#›</a:t>
            </a:fld>
            <a:endParaRPr lang="en-US"/>
          </a:p>
        </p:txBody>
      </p:sp>
    </p:spTree>
    <p:extLst>
      <p:ext uri="{BB962C8B-B14F-4D97-AF65-F5344CB8AC3E}">
        <p14:creationId xmlns:p14="http://schemas.microsoft.com/office/powerpoint/2010/main" val="14839458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B1018-31C9-485B-B873-64D4D061014D}"/>
              </a:ext>
            </a:extLst>
          </p:cNvPr>
          <p:cNvGraphicFramePr>
            <a:graphicFrameLocks noChangeAspect="1"/>
          </p:cNvGraphicFramePr>
          <p:nvPr userDrawn="1">
            <p:custDataLst>
              <p:tags r:id="rId13"/>
            </p:custDataLst>
            <p:extLst>
              <p:ext uri="{D42A27DB-BD31-4B8C-83A1-F6EECF244321}">
                <p14:modId xmlns:p14="http://schemas.microsoft.com/office/powerpoint/2010/main" val="3443000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71CB1018-31C9-485B-B873-64D4D06101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BBF974-B860-4E02-B5BF-37B4E0A4E1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0200EE-C768-419D-8B98-D547FBA044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1FCA19-23FA-4F4E-9769-FC6ADDAECF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06C5DBBC-A759-4D16-A360-A626B8D2DB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F21E604-0EFE-4984-8461-FB304CD1DD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40800-6613-40BF-9834-7D24CEC1F049}" type="slidenum">
              <a:rPr lang="en-US" smtClean="0"/>
              <a:t>‹#›</a:t>
            </a:fld>
            <a:endParaRPr lang="en-US"/>
          </a:p>
        </p:txBody>
      </p:sp>
    </p:spTree>
    <p:extLst>
      <p:ext uri="{BB962C8B-B14F-4D97-AF65-F5344CB8AC3E}">
        <p14:creationId xmlns:p14="http://schemas.microsoft.com/office/powerpoint/2010/main" val="264597898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B1018-31C9-485B-B873-64D4D061014D}"/>
              </a:ext>
            </a:extLst>
          </p:cNvPr>
          <p:cNvGraphicFramePr>
            <a:graphicFrameLocks noChangeAspect="1"/>
          </p:cNvGraphicFramePr>
          <p:nvPr userDrawn="1">
            <p:custDataLst>
              <p:tags r:id="rId13"/>
            </p:custDataLst>
            <p:extLst>
              <p:ext uri="{D42A27DB-BD31-4B8C-83A1-F6EECF244321}">
                <p14:modId xmlns:p14="http://schemas.microsoft.com/office/powerpoint/2010/main" val="1562235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71CB1018-31C9-485B-B873-64D4D06101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BBF974-B860-4E02-B5BF-37B4E0A4E1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0200EE-C768-419D-8B98-D547FBA044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1FCA19-23FA-4F4E-9769-FC6ADDAECF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06C5DBBC-A759-4D16-A360-A626B8D2DB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F21E604-0EFE-4984-8461-FB304CD1DD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40800-6613-40BF-9834-7D24CEC1F049}" type="slidenum">
              <a:rPr lang="en-US" smtClean="0"/>
              <a:t>‹#›</a:t>
            </a:fld>
            <a:endParaRPr lang="en-US"/>
          </a:p>
        </p:txBody>
      </p:sp>
    </p:spTree>
    <p:extLst>
      <p:ext uri="{BB962C8B-B14F-4D97-AF65-F5344CB8AC3E}">
        <p14:creationId xmlns:p14="http://schemas.microsoft.com/office/powerpoint/2010/main" val="157055461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B1018-31C9-485B-B873-64D4D061014D}"/>
              </a:ext>
            </a:extLst>
          </p:cNvPr>
          <p:cNvGraphicFramePr>
            <a:graphicFrameLocks noChangeAspect="1"/>
          </p:cNvGraphicFramePr>
          <p:nvPr userDrawn="1">
            <p:custDataLst>
              <p:tags r:id="rId13"/>
            </p:custDataLst>
            <p:extLst>
              <p:ext uri="{D42A27DB-BD31-4B8C-83A1-F6EECF244321}">
                <p14:modId xmlns:p14="http://schemas.microsoft.com/office/powerpoint/2010/main" val="2011370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71CB1018-31C9-485B-B873-64D4D06101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BBF974-B860-4E02-B5BF-37B4E0A4E1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0200EE-C768-419D-8B98-D547FBA044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1FCA19-23FA-4F4E-9769-FC6ADDAECF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06C5DBBC-A759-4D16-A360-A626B8D2DB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F21E604-0EFE-4984-8461-FB304CD1DD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40800-6613-40BF-9834-7D24CEC1F049}" type="slidenum">
              <a:rPr lang="en-US" smtClean="0"/>
              <a:t>‹#›</a:t>
            </a:fld>
            <a:endParaRPr lang="en-US"/>
          </a:p>
        </p:txBody>
      </p:sp>
    </p:spTree>
    <p:extLst>
      <p:ext uri="{BB962C8B-B14F-4D97-AF65-F5344CB8AC3E}">
        <p14:creationId xmlns:p14="http://schemas.microsoft.com/office/powerpoint/2010/main" val="66196272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CB1018-31C9-485B-B873-64D4D061014D}"/>
              </a:ext>
            </a:extLst>
          </p:cNvPr>
          <p:cNvGraphicFramePr>
            <a:graphicFrameLocks noChangeAspect="1"/>
          </p:cNvGraphicFramePr>
          <p:nvPr userDrawn="1">
            <p:custDataLst>
              <p:tags r:id="rId13"/>
            </p:custDataLst>
            <p:extLst>
              <p:ext uri="{D42A27DB-BD31-4B8C-83A1-F6EECF244321}">
                <p14:modId xmlns:p14="http://schemas.microsoft.com/office/powerpoint/2010/main" val="24596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71CB1018-31C9-485B-B873-64D4D061014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3BBF974-B860-4E02-B5BF-37B4E0A4E1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0200EE-C768-419D-8B98-D547FBA044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1FCA19-23FA-4F4E-9769-FC6ADDAECF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BCB50A-8290-4F16-80D8-004087C8170C}" type="datetimeFigureOut">
              <a:rPr lang="en-US" smtClean="0"/>
              <a:t>10/16/2021</a:t>
            </a:fld>
            <a:endParaRPr lang="en-US"/>
          </a:p>
        </p:txBody>
      </p:sp>
      <p:sp>
        <p:nvSpPr>
          <p:cNvPr id="5" name="Footer Placeholder 4">
            <a:extLst>
              <a:ext uri="{FF2B5EF4-FFF2-40B4-BE49-F238E27FC236}">
                <a16:creationId xmlns:a16="http://schemas.microsoft.com/office/drawing/2014/main" id="{06C5DBBC-A759-4D16-A360-A626B8D2DB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F21E604-0EFE-4984-8461-FB304CD1DD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40800-6613-40BF-9834-7D24CEC1F049}" type="slidenum">
              <a:rPr lang="en-US" smtClean="0"/>
              <a:t>‹#›</a:t>
            </a:fld>
            <a:endParaRPr lang="en-US"/>
          </a:p>
        </p:txBody>
      </p:sp>
    </p:spTree>
    <p:extLst>
      <p:ext uri="{BB962C8B-B14F-4D97-AF65-F5344CB8AC3E}">
        <p14:creationId xmlns:p14="http://schemas.microsoft.com/office/powerpoint/2010/main" val="339457026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6.xml"/><Relationship Id="rId1" Type="http://schemas.openxmlformats.org/officeDocument/2006/relationships/tags" Target="../tags/tag18.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oleObject" Target="../embeddings/oleObject18.bin"/><Relationship Id="rId7" Type="http://schemas.openxmlformats.org/officeDocument/2006/relationships/image" Target="../media/image20.png"/><Relationship Id="rId2" Type="http://schemas.openxmlformats.org/officeDocument/2006/relationships/slideLayout" Target="../slideLayouts/slideLayout24.xml"/><Relationship Id="rId1" Type="http://schemas.openxmlformats.org/officeDocument/2006/relationships/tags" Target="../tags/tag1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emf"/><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6.xml"/><Relationship Id="rId1" Type="http://schemas.openxmlformats.org/officeDocument/2006/relationships/tags" Target="../tags/tag20.xml"/><Relationship Id="rId5" Type="http://schemas.openxmlformats.org/officeDocument/2006/relationships/image" Target="../media/image23.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5.xml"/><Relationship Id="rId1" Type="http://schemas.openxmlformats.org/officeDocument/2006/relationships/tags" Target="../tags/tag21.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8.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57.xml"/><Relationship Id="rId1" Type="http://schemas.openxmlformats.org/officeDocument/2006/relationships/tags" Target="../tags/tag23.xml"/><Relationship Id="rId6" Type="http://schemas.openxmlformats.org/officeDocument/2006/relationships/image" Target="../media/image24.png"/><Relationship Id="rId5" Type="http://schemas.openxmlformats.org/officeDocument/2006/relationships/customXml" Target="../ink/ink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7.xml"/><Relationship Id="rId1" Type="http://schemas.openxmlformats.org/officeDocument/2006/relationships/tags" Target="../tags/tag24.xml"/><Relationship Id="rId6" Type="http://schemas.openxmlformats.org/officeDocument/2006/relationships/image" Target="../media/image25.png"/><Relationship Id="rId5" Type="http://schemas.openxmlformats.org/officeDocument/2006/relationships/customXml" Target="../ink/ink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57.xml"/><Relationship Id="rId1" Type="http://schemas.openxmlformats.org/officeDocument/2006/relationships/tags" Target="../tags/tag25.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68.xml"/><Relationship Id="rId1" Type="http://schemas.openxmlformats.org/officeDocument/2006/relationships/tags" Target="../tags/tag26.xml"/><Relationship Id="rId5" Type="http://schemas.openxmlformats.org/officeDocument/2006/relationships/image" Target="../media/image26.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customXml" Target="../ink/ink1.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2.bin"/><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png"/><Relationship Id="rId11" Type="http://schemas.openxmlformats.org/officeDocument/2006/relationships/image" Target="../media/image8.png"/><Relationship Id="rId5" Type="http://schemas.openxmlformats.org/officeDocument/2006/relationships/image" Target="../media/image3.png"/><Relationship Id="rId10" Type="http://schemas.openxmlformats.org/officeDocument/2006/relationships/customXml" Target="../ink/ink2.xml"/><Relationship Id="rId4" Type="http://schemas.openxmlformats.org/officeDocument/2006/relationships/image" Target="../media/image1.emf"/><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3.bin"/><Relationship Id="rId7" Type="http://schemas.openxmlformats.org/officeDocument/2006/relationships/diagramQuickStyle" Target="../diagrams/quickStyle1.xml"/><Relationship Id="rId2" Type="http://schemas.openxmlformats.org/officeDocument/2006/relationships/slideLayout" Target="../slideLayouts/slideLayout24.xml"/><Relationship Id="rId1" Type="http://schemas.openxmlformats.org/officeDocument/2006/relationships/tags" Target="../tags/tag1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_rels/slide7.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oleObject" Target="../embeddings/oleObject14.bin"/><Relationship Id="rId7" Type="http://schemas.openxmlformats.org/officeDocument/2006/relationships/image" Target="../media/image11.png"/><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10.png"/><Relationship Id="rId11" Type="http://schemas.openxmlformats.org/officeDocument/2006/relationships/image" Target="../media/image13.png"/><Relationship Id="rId5" Type="http://schemas.openxmlformats.org/officeDocument/2006/relationships/image" Target="../media/image9.png"/><Relationship Id="rId10" Type="http://schemas.openxmlformats.org/officeDocument/2006/relationships/customXml" Target="../ink/ink4.xml"/><Relationship Id="rId4" Type="http://schemas.openxmlformats.org/officeDocument/2006/relationships/image" Target="../media/image1.emf"/><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xml"/><Relationship Id="rId7" Type="http://schemas.openxmlformats.org/officeDocument/2006/relationships/image" Target="../media/image15.png"/><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14.png"/><Relationship Id="rId5" Type="http://schemas.openxmlformats.org/officeDocument/2006/relationships/image" Target="../media/image1.emf"/><Relationship Id="rId10" Type="http://schemas.openxmlformats.org/officeDocument/2006/relationships/image" Target="../media/image17.png"/><Relationship Id="rId4" Type="http://schemas.openxmlformats.org/officeDocument/2006/relationships/oleObject" Target="../embeddings/oleObject15.bin"/><Relationship Id="rId9" Type="http://schemas.openxmlformats.org/officeDocument/2006/relationships/customXml" Target="../ink/ink5.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4.xml"/><Relationship Id="rId1" Type="http://schemas.openxmlformats.org/officeDocument/2006/relationships/tags" Target="../tags/tag1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479633-7C2A-4CC3-ACF3-6285A0A3AE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8479633-7C2A-4CC3-ACF3-6285A0A3AE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40" name="Rectangle 39">
            <a:extLst>
              <a:ext uri="{FF2B5EF4-FFF2-40B4-BE49-F238E27FC236}">
                <a16:creationId xmlns:a16="http://schemas.microsoft.com/office/drawing/2014/main" id="{16F9E488-0718-4E1E-9D12-26779F6062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D20AEB5B-DFC7-42B4-9FAA-6B95E01D0F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15124" y="0"/>
            <a:ext cx="7476877" cy="6858000"/>
          </a:xfrm>
          <a:custGeom>
            <a:avLst/>
            <a:gdLst>
              <a:gd name="connsiteX0" fmla="*/ 637332 w 7476877"/>
              <a:gd name="connsiteY0" fmla="*/ 4332728 h 6858000"/>
              <a:gd name="connsiteX1" fmla="*/ 1576347 w 7476877"/>
              <a:gd name="connsiteY1" fmla="*/ 4332728 h 6858000"/>
              <a:gd name="connsiteX2" fmla="*/ 1720345 w 7476877"/>
              <a:gd name="connsiteY2" fmla="*/ 4419228 h 6858000"/>
              <a:gd name="connsiteX3" fmla="*/ 2190864 w 7476877"/>
              <a:gd name="connsiteY3" fmla="*/ 5245095 h 6858000"/>
              <a:gd name="connsiteX4" fmla="*/ 2190864 w 7476877"/>
              <a:gd name="connsiteY4" fmla="*/ 5413976 h 6858000"/>
              <a:gd name="connsiteX5" fmla="*/ 1720345 w 7476877"/>
              <a:gd name="connsiteY5" fmla="*/ 6239844 h 6858000"/>
              <a:gd name="connsiteX6" fmla="*/ 1576347 w 7476877"/>
              <a:gd name="connsiteY6" fmla="*/ 6326343 h 6858000"/>
              <a:gd name="connsiteX7" fmla="*/ 637332 w 7476877"/>
              <a:gd name="connsiteY7" fmla="*/ 6326343 h 6858000"/>
              <a:gd name="connsiteX8" fmla="*/ 491309 w 7476877"/>
              <a:gd name="connsiteY8" fmla="*/ 6239844 h 6858000"/>
              <a:gd name="connsiteX9" fmla="*/ 22817 w 7476877"/>
              <a:gd name="connsiteY9" fmla="*/ 5413976 h 6858000"/>
              <a:gd name="connsiteX10" fmla="*/ 22817 w 7476877"/>
              <a:gd name="connsiteY10" fmla="*/ 5245095 h 6858000"/>
              <a:gd name="connsiteX11" fmla="*/ 491309 w 7476877"/>
              <a:gd name="connsiteY11" fmla="*/ 4419228 h 6858000"/>
              <a:gd name="connsiteX12" fmla="*/ 637332 w 7476877"/>
              <a:gd name="connsiteY12" fmla="*/ 4332728 h 6858000"/>
              <a:gd name="connsiteX13" fmla="*/ 3853980 w 7476877"/>
              <a:gd name="connsiteY13" fmla="*/ 0 h 6858000"/>
              <a:gd name="connsiteX14" fmla="*/ 5043644 w 7476877"/>
              <a:gd name="connsiteY14" fmla="*/ 0 h 6858000"/>
              <a:gd name="connsiteX15" fmla="*/ 5083740 w 7476877"/>
              <a:gd name="connsiteY15" fmla="*/ 70378 h 6858000"/>
              <a:gd name="connsiteX16" fmla="*/ 5225307 w 7476877"/>
              <a:gd name="connsiteY16" fmla="*/ 318859 h 6858000"/>
              <a:gd name="connsiteX17" fmla="*/ 5225307 w 7476877"/>
              <a:gd name="connsiteY17" fmla="*/ 577503 h 6858000"/>
              <a:gd name="connsiteX18" fmla="*/ 4504695 w 7476877"/>
              <a:gd name="connsiteY18" fmla="*/ 1842337 h 6858000"/>
              <a:gd name="connsiteX19" fmla="*/ 4284162 w 7476877"/>
              <a:gd name="connsiteY19" fmla="*/ 1974811 h 6858000"/>
              <a:gd name="connsiteX20" fmla="*/ 2846045 w 7476877"/>
              <a:gd name="connsiteY20" fmla="*/ 1974811 h 6858000"/>
              <a:gd name="connsiteX21" fmla="*/ 2778342 w 7476877"/>
              <a:gd name="connsiteY21" fmla="*/ 1965645 h 6858000"/>
              <a:gd name="connsiteX22" fmla="*/ 2731777 w 7476877"/>
              <a:gd name="connsiteY22" fmla="*/ 1945746 h 6858000"/>
              <a:gd name="connsiteX23" fmla="*/ 2760233 w 7476877"/>
              <a:gd name="connsiteY23" fmla="*/ 1895581 h 6858000"/>
              <a:gd name="connsiteX24" fmla="*/ 3768459 w 7476877"/>
              <a:gd name="connsiteY24" fmla="*/ 118263 h 6858000"/>
              <a:gd name="connsiteX25" fmla="*/ 3819932 w 7476877"/>
              <a:gd name="connsiteY25" fmla="*/ 39732 h 6858000"/>
              <a:gd name="connsiteX26" fmla="*/ 1880237 w 7476877"/>
              <a:gd name="connsiteY26" fmla="*/ 0 h 6858000"/>
              <a:gd name="connsiteX27" fmla="*/ 2102124 w 7476877"/>
              <a:gd name="connsiteY27" fmla="*/ 0 h 6858000"/>
              <a:gd name="connsiteX28" fmla="*/ 2086946 w 7476877"/>
              <a:gd name="connsiteY28" fmla="*/ 26756 h 6858000"/>
              <a:gd name="connsiteX29" fmla="*/ 1911773 w 7476877"/>
              <a:gd name="connsiteY29" fmla="*/ 335552 h 6858000"/>
              <a:gd name="connsiteX30" fmla="*/ 1911773 w 7476877"/>
              <a:gd name="connsiteY30" fmla="*/ 594199 h 6858000"/>
              <a:gd name="connsiteX31" fmla="*/ 2629280 w 7476877"/>
              <a:gd name="connsiteY31" fmla="*/ 1859030 h 6858000"/>
              <a:gd name="connsiteX32" fmla="*/ 2723627 w 7476877"/>
              <a:gd name="connsiteY32" fmla="*/ 1956020 h 6858000"/>
              <a:gd name="connsiteX33" fmla="*/ 2734544 w 7476877"/>
              <a:gd name="connsiteY33" fmla="*/ 1960685 h 6858000"/>
              <a:gd name="connsiteX34" fmla="*/ 2676021 w 7476877"/>
              <a:gd name="connsiteY34" fmla="*/ 2063851 h 6858000"/>
              <a:gd name="connsiteX35" fmla="*/ 2632495 w 7476877"/>
              <a:gd name="connsiteY35" fmla="*/ 2140578 h 6858000"/>
              <a:gd name="connsiteX36" fmla="*/ 2677641 w 7476877"/>
              <a:gd name="connsiteY36" fmla="*/ 2159871 h 6858000"/>
              <a:gd name="connsiteX37" fmla="*/ 2754009 w 7476877"/>
              <a:gd name="connsiteY37" fmla="*/ 2170210 h 6858000"/>
              <a:gd name="connsiteX38" fmla="*/ 4376198 w 7476877"/>
              <a:gd name="connsiteY38" fmla="*/ 2170210 h 6858000"/>
              <a:gd name="connsiteX39" fmla="*/ 4624956 w 7476877"/>
              <a:gd name="connsiteY39" fmla="*/ 2020780 h 6858000"/>
              <a:gd name="connsiteX40" fmla="*/ 5437803 w 7476877"/>
              <a:gd name="connsiteY40" fmla="*/ 594055 h 6858000"/>
              <a:gd name="connsiteX41" fmla="*/ 5437803 w 7476877"/>
              <a:gd name="connsiteY41" fmla="*/ 302307 h 6858000"/>
              <a:gd name="connsiteX42" fmla="*/ 5294722 w 7476877"/>
              <a:gd name="connsiteY42" fmla="*/ 51168 h 6858000"/>
              <a:gd name="connsiteX43" fmla="*/ 5265570 w 7476877"/>
              <a:gd name="connsiteY43" fmla="*/ 0 h 6858000"/>
              <a:gd name="connsiteX44" fmla="*/ 7476877 w 7476877"/>
              <a:gd name="connsiteY44" fmla="*/ 0 h 6858000"/>
              <a:gd name="connsiteX45" fmla="*/ 7476877 w 7476877"/>
              <a:gd name="connsiteY45" fmla="*/ 6858000 h 6858000"/>
              <a:gd name="connsiteX46" fmla="*/ 3343303 w 7476877"/>
              <a:gd name="connsiteY46" fmla="*/ 6858000 h 6858000"/>
              <a:gd name="connsiteX47" fmla="*/ 3297958 w 7476877"/>
              <a:gd name="connsiteY47" fmla="*/ 6778065 h 6858000"/>
              <a:gd name="connsiteX48" fmla="*/ 1841286 w 7476877"/>
              <a:gd name="connsiteY48" fmla="*/ 4210218 h 6858000"/>
              <a:gd name="connsiteX49" fmla="*/ 1841286 w 7476877"/>
              <a:gd name="connsiteY49" fmla="*/ 3515516 h 6858000"/>
              <a:gd name="connsiteX50" fmla="*/ 2556859 w 7476877"/>
              <a:gd name="connsiteY50" fmla="*/ 2254092 h 6858000"/>
              <a:gd name="connsiteX51" fmla="*/ 2617166 w 7476877"/>
              <a:gd name="connsiteY51" fmla="*/ 2147787 h 6858000"/>
              <a:gd name="connsiteX52" fmla="*/ 2615044 w 7476877"/>
              <a:gd name="connsiteY52" fmla="*/ 2146880 h 6858000"/>
              <a:gd name="connsiteX53" fmla="*/ 2508620 w 7476877"/>
              <a:gd name="connsiteY53" fmla="*/ 2037473 h 6858000"/>
              <a:gd name="connsiteX54" fmla="*/ 1699276 w 7476877"/>
              <a:gd name="connsiteY54" fmla="*/ 610749 h 6858000"/>
              <a:gd name="connsiteX55" fmla="*/ 1699276 w 7476877"/>
              <a:gd name="connsiteY55" fmla="*/ 319000 h 6858000"/>
              <a:gd name="connsiteX56" fmla="*/ 1843322 w 7476877"/>
              <a:gd name="connsiteY56" fmla="*/ 650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476877" h="6858000">
                <a:moveTo>
                  <a:pt x="637332" y="4332728"/>
                </a:moveTo>
                <a:cubicBezTo>
                  <a:pt x="637332" y="4332728"/>
                  <a:pt x="637332" y="4332728"/>
                  <a:pt x="1576347" y="4332728"/>
                </a:cubicBezTo>
                <a:cubicBezTo>
                  <a:pt x="1635163" y="4332728"/>
                  <a:pt x="1691949" y="4365681"/>
                  <a:pt x="1720345" y="4419228"/>
                </a:cubicBezTo>
                <a:cubicBezTo>
                  <a:pt x="1720345" y="4419228"/>
                  <a:pt x="1720345" y="4419228"/>
                  <a:pt x="2190864" y="5245095"/>
                </a:cubicBezTo>
                <a:cubicBezTo>
                  <a:pt x="2221287" y="5296583"/>
                  <a:pt x="2221287" y="5362488"/>
                  <a:pt x="2190864" y="5413976"/>
                </a:cubicBezTo>
                <a:cubicBezTo>
                  <a:pt x="2190864" y="5413976"/>
                  <a:pt x="2190864" y="5413976"/>
                  <a:pt x="1720345" y="6239844"/>
                </a:cubicBezTo>
                <a:cubicBezTo>
                  <a:pt x="1691949" y="6293391"/>
                  <a:pt x="1635163" y="6326343"/>
                  <a:pt x="1576347" y="6326343"/>
                </a:cubicBezTo>
                <a:cubicBezTo>
                  <a:pt x="1576347" y="6326343"/>
                  <a:pt x="1576347" y="6326343"/>
                  <a:pt x="637332" y="6326343"/>
                </a:cubicBezTo>
                <a:cubicBezTo>
                  <a:pt x="576490" y="6326343"/>
                  <a:pt x="521732" y="6293391"/>
                  <a:pt x="491309" y="6239844"/>
                </a:cubicBezTo>
                <a:cubicBezTo>
                  <a:pt x="491309" y="6239844"/>
                  <a:pt x="491309" y="6239844"/>
                  <a:pt x="22817" y="5413976"/>
                </a:cubicBezTo>
                <a:cubicBezTo>
                  <a:pt x="-7605" y="5362488"/>
                  <a:pt x="-7605" y="5296583"/>
                  <a:pt x="22817" y="5245095"/>
                </a:cubicBezTo>
                <a:cubicBezTo>
                  <a:pt x="22817" y="5245095"/>
                  <a:pt x="22817" y="5245095"/>
                  <a:pt x="491309" y="4419228"/>
                </a:cubicBezTo>
                <a:cubicBezTo>
                  <a:pt x="521732" y="4365681"/>
                  <a:pt x="576490" y="4332728"/>
                  <a:pt x="637332" y="4332728"/>
                </a:cubicBezTo>
                <a:close/>
                <a:moveTo>
                  <a:pt x="3853980" y="0"/>
                </a:moveTo>
                <a:lnTo>
                  <a:pt x="5043644" y="0"/>
                </a:lnTo>
                <a:lnTo>
                  <a:pt x="5083740" y="70378"/>
                </a:lnTo>
                <a:cubicBezTo>
                  <a:pt x="5127533" y="147245"/>
                  <a:pt x="5174639" y="229925"/>
                  <a:pt x="5225307" y="318859"/>
                </a:cubicBezTo>
                <a:cubicBezTo>
                  <a:pt x="5271897" y="397715"/>
                  <a:pt x="5271897" y="498649"/>
                  <a:pt x="5225307" y="577503"/>
                </a:cubicBezTo>
                <a:cubicBezTo>
                  <a:pt x="5225307" y="577503"/>
                  <a:pt x="5225307" y="577503"/>
                  <a:pt x="4504695" y="1842337"/>
                </a:cubicBezTo>
                <a:cubicBezTo>
                  <a:pt x="4461209" y="1924345"/>
                  <a:pt x="4374239" y="1974811"/>
                  <a:pt x="4284162" y="1974811"/>
                </a:cubicBezTo>
                <a:cubicBezTo>
                  <a:pt x="4284162" y="1974811"/>
                  <a:pt x="4284162" y="1974811"/>
                  <a:pt x="2846045" y="1974811"/>
                </a:cubicBezTo>
                <a:cubicBezTo>
                  <a:pt x="2822750" y="1974811"/>
                  <a:pt x="2800035" y="1971656"/>
                  <a:pt x="2778342" y="1965645"/>
                </a:cubicBezTo>
                <a:lnTo>
                  <a:pt x="2731777" y="1945746"/>
                </a:lnTo>
                <a:lnTo>
                  <a:pt x="2760233" y="1895581"/>
                </a:lnTo>
                <a:cubicBezTo>
                  <a:pt x="3017539" y="1441999"/>
                  <a:pt x="3346890" y="861413"/>
                  <a:pt x="3768459" y="118263"/>
                </a:cubicBezTo>
                <a:cubicBezTo>
                  <a:pt x="3784101" y="90729"/>
                  <a:pt x="3801308" y="64519"/>
                  <a:pt x="3819932" y="39732"/>
                </a:cubicBezTo>
                <a:close/>
                <a:moveTo>
                  <a:pt x="1880237" y="0"/>
                </a:moveTo>
                <a:lnTo>
                  <a:pt x="2102124" y="0"/>
                </a:lnTo>
                <a:lnTo>
                  <a:pt x="2086946" y="26756"/>
                </a:lnTo>
                <a:cubicBezTo>
                  <a:pt x="1911773" y="335552"/>
                  <a:pt x="1911773" y="335552"/>
                  <a:pt x="1911773" y="335552"/>
                </a:cubicBezTo>
                <a:cubicBezTo>
                  <a:pt x="1865182" y="414408"/>
                  <a:pt x="1865182" y="515344"/>
                  <a:pt x="1911773" y="594199"/>
                </a:cubicBezTo>
                <a:cubicBezTo>
                  <a:pt x="2629280" y="1859030"/>
                  <a:pt x="2629280" y="1859030"/>
                  <a:pt x="2629280" y="1859030"/>
                </a:cubicBezTo>
                <a:cubicBezTo>
                  <a:pt x="2652576" y="1900035"/>
                  <a:pt x="2685189" y="1933154"/>
                  <a:pt x="2723627" y="1956020"/>
                </a:cubicBezTo>
                <a:lnTo>
                  <a:pt x="2734544" y="1960685"/>
                </a:lnTo>
                <a:lnTo>
                  <a:pt x="2676021" y="2063851"/>
                </a:lnTo>
                <a:lnTo>
                  <a:pt x="2632495" y="2140578"/>
                </a:lnTo>
                <a:lnTo>
                  <a:pt x="2677641" y="2159871"/>
                </a:lnTo>
                <a:cubicBezTo>
                  <a:pt x="2702113" y="2166652"/>
                  <a:pt x="2727732" y="2170210"/>
                  <a:pt x="2754009" y="2170210"/>
                </a:cubicBezTo>
                <a:cubicBezTo>
                  <a:pt x="4376198" y="2170210"/>
                  <a:pt x="4376198" y="2170210"/>
                  <a:pt x="4376198" y="2170210"/>
                </a:cubicBezTo>
                <a:cubicBezTo>
                  <a:pt x="4477805" y="2170210"/>
                  <a:pt x="4575904" y="2113286"/>
                  <a:pt x="4624956" y="2020780"/>
                </a:cubicBezTo>
                <a:cubicBezTo>
                  <a:pt x="5437803" y="594055"/>
                  <a:pt x="5437803" y="594055"/>
                  <a:pt x="5437803" y="594055"/>
                </a:cubicBezTo>
                <a:cubicBezTo>
                  <a:pt x="5490358" y="505109"/>
                  <a:pt x="5490358" y="391256"/>
                  <a:pt x="5437803" y="302307"/>
                </a:cubicBezTo>
                <a:cubicBezTo>
                  <a:pt x="5387000" y="213137"/>
                  <a:pt x="5339373" y="129540"/>
                  <a:pt x="5294722" y="51168"/>
                </a:cubicBezTo>
                <a:lnTo>
                  <a:pt x="5265570" y="0"/>
                </a:lnTo>
                <a:lnTo>
                  <a:pt x="7476877" y="0"/>
                </a:lnTo>
                <a:lnTo>
                  <a:pt x="7476877" y="6858000"/>
                </a:lnTo>
                <a:lnTo>
                  <a:pt x="3343303" y="6858000"/>
                </a:lnTo>
                <a:lnTo>
                  <a:pt x="3297958" y="6778065"/>
                </a:lnTo>
                <a:cubicBezTo>
                  <a:pt x="3015657" y="6280421"/>
                  <a:pt x="2563976" y="5484189"/>
                  <a:pt x="1841286" y="4210218"/>
                </a:cubicBezTo>
                <a:cubicBezTo>
                  <a:pt x="1716144" y="3998418"/>
                  <a:pt x="1716144" y="3727316"/>
                  <a:pt x="1841286" y="3515516"/>
                </a:cubicBezTo>
                <a:cubicBezTo>
                  <a:pt x="1841286" y="3515516"/>
                  <a:pt x="1841286" y="3515516"/>
                  <a:pt x="2556859" y="2254092"/>
                </a:cubicBezTo>
                <a:lnTo>
                  <a:pt x="2617166" y="2147787"/>
                </a:lnTo>
                <a:lnTo>
                  <a:pt x="2615044" y="2146880"/>
                </a:lnTo>
                <a:cubicBezTo>
                  <a:pt x="2571686" y="2121084"/>
                  <a:pt x="2534897" y="2083728"/>
                  <a:pt x="2508620" y="2037473"/>
                </a:cubicBezTo>
                <a:cubicBezTo>
                  <a:pt x="2508620" y="2037473"/>
                  <a:pt x="2508620" y="2037473"/>
                  <a:pt x="1699276" y="610749"/>
                </a:cubicBezTo>
                <a:cubicBezTo>
                  <a:pt x="1646720" y="521803"/>
                  <a:pt x="1646720" y="407950"/>
                  <a:pt x="1699276" y="319000"/>
                </a:cubicBezTo>
                <a:cubicBezTo>
                  <a:pt x="1699276" y="319000"/>
                  <a:pt x="1699276" y="319000"/>
                  <a:pt x="1843322" y="65075"/>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D06459B-BCBD-4585-9A52-58E1D4BA8255}"/>
              </a:ext>
            </a:extLst>
          </p:cNvPr>
          <p:cNvSpPr>
            <a:spLocks noGrp="1"/>
          </p:cNvSpPr>
          <p:nvPr>
            <p:ph type="ctrTitle"/>
          </p:nvPr>
        </p:nvSpPr>
        <p:spPr>
          <a:xfrm>
            <a:off x="1356919" y="2945524"/>
            <a:ext cx="6457183" cy="2274388"/>
          </a:xfrm>
        </p:spPr>
        <p:txBody>
          <a:bodyPr vert="horz" anchor="t">
            <a:normAutofit/>
          </a:bodyPr>
          <a:lstStyle/>
          <a:p>
            <a:pPr algn="l"/>
            <a:r>
              <a:rPr lang="en-US" sz="5600" dirty="0"/>
              <a:t>Unsupervised Learning – Clustering </a:t>
            </a:r>
          </a:p>
        </p:txBody>
      </p:sp>
      <p:sp>
        <p:nvSpPr>
          <p:cNvPr id="3" name="Subtitle 2">
            <a:extLst>
              <a:ext uri="{FF2B5EF4-FFF2-40B4-BE49-F238E27FC236}">
                <a16:creationId xmlns:a16="http://schemas.microsoft.com/office/drawing/2014/main" id="{6C40D201-CA9C-4624-85FE-EF4BC4A47903}"/>
              </a:ext>
            </a:extLst>
          </p:cNvPr>
          <p:cNvSpPr>
            <a:spLocks noGrp="1"/>
          </p:cNvSpPr>
          <p:nvPr>
            <p:ph type="subTitle" idx="1"/>
          </p:nvPr>
        </p:nvSpPr>
        <p:spPr>
          <a:xfrm>
            <a:off x="1331480" y="1234285"/>
            <a:ext cx="5013661" cy="1683292"/>
          </a:xfrm>
        </p:spPr>
        <p:txBody>
          <a:bodyPr anchor="b">
            <a:normAutofit/>
          </a:bodyPr>
          <a:lstStyle/>
          <a:p>
            <a:pPr algn="l"/>
            <a:r>
              <a:rPr lang="en-US"/>
              <a:t>Aniket Chhabra</a:t>
            </a:r>
          </a:p>
        </p:txBody>
      </p:sp>
      <p:grpSp>
        <p:nvGrpSpPr>
          <p:cNvPr id="44" name="Group 43">
            <a:extLst>
              <a:ext uri="{FF2B5EF4-FFF2-40B4-BE49-F238E27FC236}">
                <a16:creationId xmlns:a16="http://schemas.microsoft.com/office/drawing/2014/main" id="{64B93721-934F-4F1E-A868-0B2BA110D3B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41960" y="561256"/>
            <a:ext cx="1128382" cy="847206"/>
            <a:chOff x="7393391" y="1075612"/>
            <a:chExt cx="1128382" cy="847206"/>
          </a:xfrm>
        </p:grpSpPr>
        <p:sp>
          <p:nvSpPr>
            <p:cNvPr id="45" name="Freeform 5">
              <a:extLst>
                <a:ext uri="{FF2B5EF4-FFF2-40B4-BE49-F238E27FC236}">
                  <a16:creationId xmlns:a16="http://schemas.microsoft.com/office/drawing/2014/main" id="{99494AF8-52DE-4016-B1B9-5D16974BAE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7393391" y="1327438"/>
              <a:ext cx="675351" cy="595380"/>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5">
              <a:extLst>
                <a:ext uri="{FF2B5EF4-FFF2-40B4-BE49-F238E27FC236}">
                  <a16:creationId xmlns:a16="http://schemas.microsoft.com/office/drawing/2014/main" id="{C27115E3-8DBD-460F-8EAD-44E12617413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7971281" y="1075612"/>
              <a:ext cx="550492" cy="485306"/>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48387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971473-89DA-42F1-A168-6C01E78351E0}"/>
              </a:ext>
            </a:extLst>
          </p:cNvPr>
          <p:cNvGraphicFramePr>
            <a:graphicFrameLocks noChangeAspect="1"/>
          </p:cNvGraphicFramePr>
          <p:nvPr>
            <p:custDataLst>
              <p:tags r:id="rId1"/>
            </p:custDataLst>
            <p:extLst>
              <p:ext uri="{D42A27DB-BD31-4B8C-83A1-F6EECF244321}">
                <p14:modId xmlns:p14="http://schemas.microsoft.com/office/powerpoint/2010/main" val="1029330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19971473-89DA-42F1-A168-6C01E7835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64CB73DA-CF92-4DA3-AE37-487E180DAA54}"/>
              </a:ext>
            </a:extLst>
          </p:cNvPr>
          <p:cNvSpPr/>
          <p:nvPr/>
        </p:nvSpPr>
        <p:spPr>
          <a:xfrm>
            <a:off x="2238703" y="987975"/>
            <a:ext cx="6400799" cy="50186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0" i="0" dirty="0">
                <a:solidFill>
                  <a:srgbClr val="595858"/>
                </a:solidFill>
                <a:effectLst/>
                <a:latin typeface="roboto"/>
              </a:rPr>
              <a:t>Select the number of clusters for the dataset (K)</a:t>
            </a:r>
            <a:endParaRPr lang="en-US" sz="1600" dirty="0"/>
          </a:p>
        </p:txBody>
      </p:sp>
      <p:sp>
        <p:nvSpPr>
          <p:cNvPr id="8" name="object 2">
            <a:extLst>
              <a:ext uri="{FF2B5EF4-FFF2-40B4-BE49-F238E27FC236}">
                <a16:creationId xmlns:a16="http://schemas.microsoft.com/office/drawing/2014/main" id="{777BE039-B209-4E46-991D-ECC2BF4D8AF3}"/>
              </a:ext>
            </a:extLst>
          </p:cNvPr>
          <p:cNvSpPr txBox="1">
            <a:spLocks/>
          </p:cNvSpPr>
          <p:nvPr/>
        </p:nvSpPr>
        <p:spPr>
          <a:xfrm>
            <a:off x="268287" y="96045"/>
            <a:ext cx="8296275" cy="696912"/>
          </a:xfrm>
          <a:prstGeom prst="rect">
            <a:avLst/>
          </a:prstGeom>
        </p:spPr>
        <p:txBody>
          <a:bodyPr vert="horz" lIns="91440" tIns="13335"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buClr>
                <a:srgbClr val="000000"/>
              </a:buClr>
              <a:buSzPts val="3000"/>
              <a:defRPr/>
            </a:pPr>
            <a:r>
              <a:rPr lang="en-US" sz="4000" b="1" kern="0" dirty="0">
                <a:solidFill>
                  <a:srgbClr val="000000"/>
                </a:solidFill>
                <a:latin typeface="+mn-lt"/>
              </a:rPr>
              <a:t>How does k-means clustering work?</a:t>
            </a:r>
          </a:p>
        </p:txBody>
      </p:sp>
      <p:sp>
        <p:nvSpPr>
          <p:cNvPr id="10" name="Oval 9">
            <a:extLst>
              <a:ext uri="{FF2B5EF4-FFF2-40B4-BE49-F238E27FC236}">
                <a16:creationId xmlns:a16="http://schemas.microsoft.com/office/drawing/2014/main" id="{B8A793FC-0B2E-4D9A-804E-21AF26FEC2B9}"/>
              </a:ext>
            </a:extLst>
          </p:cNvPr>
          <p:cNvSpPr/>
          <p:nvPr/>
        </p:nvSpPr>
        <p:spPr>
          <a:xfrm>
            <a:off x="2010101" y="772634"/>
            <a:ext cx="457198" cy="424276"/>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1</a:t>
            </a:r>
          </a:p>
        </p:txBody>
      </p:sp>
      <p:sp>
        <p:nvSpPr>
          <p:cNvPr id="11" name="Rectangle: Rounded Corners 10">
            <a:extLst>
              <a:ext uri="{FF2B5EF4-FFF2-40B4-BE49-F238E27FC236}">
                <a16:creationId xmlns:a16="http://schemas.microsoft.com/office/drawing/2014/main" id="{C34FD9F9-D0BE-46BA-83C1-DF761C4C2AF5}"/>
              </a:ext>
            </a:extLst>
          </p:cNvPr>
          <p:cNvSpPr/>
          <p:nvPr/>
        </p:nvSpPr>
        <p:spPr>
          <a:xfrm>
            <a:off x="2238703" y="2213905"/>
            <a:ext cx="6400799" cy="50186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0" i="0" dirty="0">
                <a:solidFill>
                  <a:srgbClr val="595858"/>
                </a:solidFill>
                <a:effectLst/>
                <a:latin typeface="roboto"/>
              </a:rPr>
              <a:t>Select K number of centroids</a:t>
            </a:r>
            <a:endParaRPr lang="en-US" sz="1600" dirty="0"/>
          </a:p>
        </p:txBody>
      </p:sp>
      <p:sp>
        <p:nvSpPr>
          <p:cNvPr id="15" name="Arrow: Down 14">
            <a:extLst>
              <a:ext uri="{FF2B5EF4-FFF2-40B4-BE49-F238E27FC236}">
                <a16:creationId xmlns:a16="http://schemas.microsoft.com/office/drawing/2014/main" id="{5AEE2DA9-6182-45A3-AB0C-EA4984BE1A43}"/>
              </a:ext>
            </a:extLst>
          </p:cNvPr>
          <p:cNvSpPr/>
          <p:nvPr/>
        </p:nvSpPr>
        <p:spPr>
          <a:xfrm>
            <a:off x="5357646" y="1547074"/>
            <a:ext cx="472966" cy="620110"/>
          </a:xfrm>
          <a:prstGeom prst="downArrow">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75C6B953-063F-44B9-AF65-CBD84A305871}"/>
              </a:ext>
            </a:extLst>
          </p:cNvPr>
          <p:cNvSpPr/>
          <p:nvPr/>
        </p:nvSpPr>
        <p:spPr>
          <a:xfrm>
            <a:off x="2238703" y="3446130"/>
            <a:ext cx="6400799" cy="50186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solidFill>
                  <a:srgbClr val="595858"/>
                </a:solidFill>
                <a:latin typeface="roboto"/>
              </a:rPr>
              <a:t>Assign each of the data points (rows) based on the</a:t>
            </a:r>
          </a:p>
          <a:p>
            <a:pPr algn="ctr"/>
            <a:r>
              <a:rPr lang="en-US" sz="1600" dirty="0">
                <a:solidFill>
                  <a:srgbClr val="595858"/>
                </a:solidFill>
                <a:latin typeface="roboto"/>
              </a:rPr>
              <a:t> distance of each of the data point from centroids </a:t>
            </a:r>
            <a:endParaRPr lang="en-US" sz="1600" dirty="0"/>
          </a:p>
        </p:txBody>
      </p:sp>
      <p:sp>
        <p:nvSpPr>
          <p:cNvPr id="18" name="Arrow: Down 17">
            <a:extLst>
              <a:ext uri="{FF2B5EF4-FFF2-40B4-BE49-F238E27FC236}">
                <a16:creationId xmlns:a16="http://schemas.microsoft.com/office/drawing/2014/main" id="{735CE6BB-2E04-4376-B838-25661BE8D43A}"/>
              </a:ext>
            </a:extLst>
          </p:cNvPr>
          <p:cNvSpPr/>
          <p:nvPr/>
        </p:nvSpPr>
        <p:spPr>
          <a:xfrm>
            <a:off x="5357646" y="2774895"/>
            <a:ext cx="472966" cy="620110"/>
          </a:xfrm>
          <a:prstGeom prst="downArrow">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5EA49EA2-A3BC-40AE-A80A-0E89956F82E4}"/>
              </a:ext>
            </a:extLst>
          </p:cNvPr>
          <p:cNvSpPr/>
          <p:nvPr/>
        </p:nvSpPr>
        <p:spPr>
          <a:xfrm>
            <a:off x="2234706" y="4701888"/>
            <a:ext cx="6400799" cy="50186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solidFill>
                  <a:srgbClr val="595858"/>
                </a:solidFill>
                <a:latin typeface="roboto"/>
              </a:rPr>
              <a:t>Find the new centroids for each of the K clusters/group</a:t>
            </a:r>
          </a:p>
          <a:p>
            <a:pPr algn="ctr"/>
            <a:r>
              <a:rPr lang="en-US" sz="1600" dirty="0">
                <a:solidFill>
                  <a:srgbClr val="595858"/>
                </a:solidFill>
                <a:latin typeface="roboto"/>
              </a:rPr>
              <a:t> (mostly mean)</a:t>
            </a:r>
            <a:endParaRPr lang="en-US" sz="1600" dirty="0"/>
          </a:p>
        </p:txBody>
      </p:sp>
      <p:sp>
        <p:nvSpPr>
          <p:cNvPr id="21" name="Arrow: Down 20">
            <a:extLst>
              <a:ext uri="{FF2B5EF4-FFF2-40B4-BE49-F238E27FC236}">
                <a16:creationId xmlns:a16="http://schemas.microsoft.com/office/drawing/2014/main" id="{181678A0-8F86-4A58-9C05-F43F769428B9}"/>
              </a:ext>
            </a:extLst>
          </p:cNvPr>
          <p:cNvSpPr/>
          <p:nvPr/>
        </p:nvSpPr>
        <p:spPr>
          <a:xfrm>
            <a:off x="5357646" y="4020143"/>
            <a:ext cx="472966" cy="620110"/>
          </a:xfrm>
          <a:prstGeom prst="downArrow">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111431EB-1EB6-481A-804D-92803CDB801E}"/>
              </a:ext>
            </a:extLst>
          </p:cNvPr>
          <p:cNvSpPr/>
          <p:nvPr/>
        </p:nvSpPr>
        <p:spPr>
          <a:xfrm>
            <a:off x="2010101" y="2028797"/>
            <a:ext cx="457198" cy="424276"/>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2</a:t>
            </a:r>
          </a:p>
        </p:txBody>
      </p:sp>
      <p:sp>
        <p:nvSpPr>
          <p:cNvPr id="23" name="Oval 22">
            <a:extLst>
              <a:ext uri="{FF2B5EF4-FFF2-40B4-BE49-F238E27FC236}">
                <a16:creationId xmlns:a16="http://schemas.microsoft.com/office/drawing/2014/main" id="{A262D4BF-7EF9-40A7-99C8-57F19AD5F08A}"/>
              </a:ext>
            </a:extLst>
          </p:cNvPr>
          <p:cNvSpPr/>
          <p:nvPr/>
        </p:nvSpPr>
        <p:spPr>
          <a:xfrm>
            <a:off x="2010101" y="3227697"/>
            <a:ext cx="457198" cy="424276"/>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3</a:t>
            </a:r>
          </a:p>
        </p:txBody>
      </p:sp>
      <p:sp>
        <p:nvSpPr>
          <p:cNvPr id="24" name="Oval 23">
            <a:extLst>
              <a:ext uri="{FF2B5EF4-FFF2-40B4-BE49-F238E27FC236}">
                <a16:creationId xmlns:a16="http://schemas.microsoft.com/office/drawing/2014/main" id="{40561F72-C4D5-477A-A7E9-456CD905AB95}"/>
              </a:ext>
            </a:extLst>
          </p:cNvPr>
          <p:cNvSpPr/>
          <p:nvPr/>
        </p:nvSpPr>
        <p:spPr>
          <a:xfrm>
            <a:off x="2010101" y="4419438"/>
            <a:ext cx="457198" cy="424276"/>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4</a:t>
            </a:r>
          </a:p>
        </p:txBody>
      </p:sp>
      <p:sp>
        <p:nvSpPr>
          <p:cNvPr id="25" name="Rectangle: Rounded Corners 24">
            <a:extLst>
              <a:ext uri="{FF2B5EF4-FFF2-40B4-BE49-F238E27FC236}">
                <a16:creationId xmlns:a16="http://schemas.microsoft.com/office/drawing/2014/main" id="{1986A67A-4E9E-44ED-8EF1-7D90901F9C5C}"/>
              </a:ext>
            </a:extLst>
          </p:cNvPr>
          <p:cNvSpPr/>
          <p:nvPr/>
        </p:nvSpPr>
        <p:spPr>
          <a:xfrm>
            <a:off x="2234706" y="5957646"/>
            <a:ext cx="6400799" cy="50186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solidFill>
                  <a:srgbClr val="595858"/>
                </a:solidFill>
                <a:latin typeface="roboto"/>
              </a:rPr>
              <a:t>iteratively repeat step 1-4 until all the points are </a:t>
            </a:r>
          </a:p>
          <a:p>
            <a:pPr algn="ctr"/>
            <a:r>
              <a:rPr lang="en-US" sz="1600" dirty="0">
                <a:solidFill>
                  <a:srgbClr val="595858"/>
                </a:solidFill>
                <a:latin typeface="roboto"/>
              </a:rPr>
              <a:t>assigned to their respective clusters.</a:t>
            </a:r>
            <a:endParaRPr lang="en-US" sz="1600" dirty="0"/>
          </a:p>
        </p:txBody>
      </p:sp>
      <p:sp>
        <p:nvSpPr>
          <p:cNvPr id="26" name="Arrow: Down 25">
            <a:extLst>
              <a:ext uri="{FF2B5EF4-FFF2-40B4-BE49-F238E27FC236}">
                <a16:creationId xmlns:a16="http://schemas.microsoft.com/office/drawing/2014/main" id="{BE5EF12A-5E5C-4F84-93B9-DEB84D4DFEDD}"/>
              </a:ext>
            </a:extLst>
          </p:cNvPr>
          <p:cNvSpPr/>
          <p:nvPr/>
        </p:nvSpPr>
        <p:spPr>
          <a:xfrm>
            <a:off x="5357646" y="5275901"/>
            <a:ext cx="472966" cy="620110"/>
          </a:xfrm>
          <a:prstGeom prst="downArrow">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26BA1796-D818-400F-B767-4769E4411217}"/>
              </a:ext>
            </a:extLst>
          </p:cNvPr>
          <p:cNvSpPr/>
          <p:nvPr/>
        </p:nvSpPr>
        <p:spPr>
          <a:xfrm>
            <a:off x="2010101" y="5675196"/>
            <a:ext cx="457198" cy="424276"/>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5</a:t>
            </a:r>
          </a:p>
        </p:txBody>
      </p:sp>
    </p:spTree>
    <p:extLst>
      <p:ext uri="{BB962C8B-B14F-4D97-AF65-F5344CB8AC3E}">
        <p14:creationId xmlns:p14="http://schemas.microsoft.com/office/powerpoint/2010/main" val="3821036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7287F9-693D-471D-83C4-1D5FDD90E202}"/>
              </a:ext>
            </a:extLst>
          </p:cNvPr>
          <p:cNvGraphicFramePr>
            <a:graphicFrameLocks noChangeAspect="1"/>
          </p:cNvGraphicFramePr>
          <p:nvPr>
            <p:custDataLst>
              <p:tags r:id="rId1"/>
            </p:custDataLst>
            <p:extLst>
              <p:ext uri="{D42A27DB-BD31-4B8C-83A1-F6EECF244321}">
                <p14:modId xmlns:p14="http://schemas.microsoft.com/office/powerpoint/2010/main" val="305019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9D7287F9-693D-471D-83C4-1D5FDD90E2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8494800-514D-4B65-B6DD-AF40FBEE70D2}"/>
              </a:ext>
            </a:extLst>
          </p:cNvPr>
          <p:cNvSpPr>
            <a:spLocks noGrp="1"/>
          </p:cNvSpPr>
          <p:nvPr>
            <p:ph type="title"/>
          </p:nvPr>
        </p:nvSpPr>
        <p:spPr>
          <a:xfrm>
            <a:off x="242299" y="-25290"/>
            <a:ext cx="11685998" cy="652017"/>
          </a:xfrm>
        </p:spPr>
        <p:txBody>
          <a:bodyPr vert="horz">
            <a:noAutofit/>
          </a:bodyPr>
          <a:lstStyle/>
          <a:p>
            <a:pPr>
              <a:lnSpc>
                <a:spcPct val="100000"/>
              </a:lnSpc>
              <a:spcBef>
                <a:spcPts val="0"/>
              </a:spcBef>
              <a:buClr>
                <a:srgbClr val="000000"/>
              </a:buClr>
              <a:buSzPts val="3000"/>
              <a:defRPr/>
            </a:pPr>
            <a:r>
              <a:rPr lang="en-US" sz="4000" b="1" kern="0" dirty="0">
                <a:solidFill>
                  <a:srgbClr val="000000"/>
                </a:solidFill>
                <a:latin typeface="+mn-lt"/>
              </a:rPr>
              <a:t>Evaluation of Clusters</a:t>
            </a:r>
          </a:p>
        </p:txBody>
      </p:sp>
      <p:grpSp>
        <p:nvGrpSpPr>
          <p:cNvPr id="9" name="Group 8">
            <a:extLst>
              <a:ext uri="{FF2B5EF4-FFF2-40B4-BE49-F238E27FC236}">
                <a16:creationId xmlns:a16="http://schemas.microsoft.com/office/drawing/2014/main" id="{91EB64F8-D2BC-4B16-80A3-B15D6536C5F4}"/>
              </a:ext>
            </a:extLst>
          </p:cNvPr>
          <p:cNvGrpSpPr/>
          <p:nvPr/>
        </p:nvGrpSpPr>
        <p:grpSpPr>
          <a:xfrm>
            <a:off x="242299" y="592496"/>
            <a:ext cx="2719387" cy="600074"/>
            <a:chOff x="4895849" y="1264846"/>
            <a:chExt cx="2966191" cy="600074"/>
          </a:xfrm>
        </p:grpSpPr>
        <p:sp>
          <p:nvSpPr>
            <p:cNvPr id="10" name="Rectangle: Rounded Corners 9">
              <a:extLst>
                <a:ext uri="{FF2B5EF4-FFF2-40B4-BE49-F238E27FC236}">
                  <a16:creationId xmlns:a16="http://schemas.microsoft.com/office/drawing/2014/main" id="{715EA650-2E0C-4DAA-AFD4-32614392A4D1}"/>
                </a:ext>
              </a:extLst>
            </p:cNvPr>
            <p:cNvSpPr/>
            <p:nvPr/>
          </p:nvSpPr>
          <p:spPr>
            <a:xfrm>
              <a:off x="5076825" y="1264846"/>
              <a:ext cx="2785215" cy="60007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en-US" sz="1600" b="1" dirty="0">
                  <a:solidFill>
                    <a:schemeClr val="tx1"/>
                  </a:solidFill>
                  <a:cs typeface="Arial" panose="020B0604020202020204" pitchFamily="34" charset="0"/>
                </a:rPr>
                <a:t>Inertia</a:t>
              </a:r>
            </a:p>
          </p:txBody>
        </p:sp>
        <p:sp>
          <p:nvSpPr>
            <p:cNvPr id="11" name="Oval 10">
              <a:extLst>
                <a:ext uri="{FF2B5EF4-FFF2-40B4-BE49-F238E27FC236}">
                  <a16:creationId xmlns:a16="http://schemas.microsoft.com/office/drawing/2014/main" id="{8D43689B-C9CD-4C12-A18C-84F5B1D19C76}"/>
                </a:ext>
              </a:extLst>
            </p:cNvPr>
            <p:cNvSpPr/>
            <p:nvPr/>
          </p:nvSpPr>
          <p:spPr>
            <a:xfrm>
              <a:off x="4895849" y="1364859"/>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1</a:t>
              </a:r>
            </a:p>
          </p:txBody>
        </p:sp>
      </p:grpSp>
      <p:sp>
        <p:nvSpPr>
          <p:cNvPr id="13" name="TextBox 12">
            <a:extLst>
              <a:ext uri="{FF2B5EF4-FFF2-40B4-BE49-F238E27FC236}">
                <a16:creationId xmlns:a16="http://schemas.microsoft.com/office/drawing/2014/main" id="{4CB186CF-C4B2-4701-B1C1-9DBFCBA5F0D3}"/>
              </a:ext>
            </a:extLst>
          </p:cNvPr>
          <p:cNvSpPr txBox="1"/>
          <p:nvPr/>
        </p:nvSpPr>
        <p:spPr>
          <a:xfrm>
            <a:off x="2974798" y="620591"/>
            <a:ext cx="9155558" cy="307777"/>
          </a:xfrm>
          <a:prstGeom prst="rect">
            <a:avLst/>
          </a:prstGeom>
          <a:noFill/>
        </p:spPr>
        <p:txBody>
          <a:bodyPr wrap="square">
            <a:spAutoFit/>
          </a:bodyPr>
          <a:lstStyle/>
          <a:p>
            <a:r>
              <a:rPr lang="en-US" sz="1400" dirty="0"/>
              <a:t>Inertia calculates the sum of distances of all the points within a cluster from the centroid of that cluster. </a:t>
            </a:r>
          </a:p>
        </p:txBody>
      </p:sp>
      <p:pic>
        <p:nvPicPr>
          <p:cNvPr id="15" name="Picture 14">
            <a:extLst>
              <a:ext uri="{FF2B5EF4-FFF2-40B4-BE49-F238E27FC236}">
                <a16:creationId xmlns:a16="http://schemas.microsoft.com/office/drawing/2014/main" id="{63402CC7-62B7-4989-A831-15F5E1EBB063}"/>
              </a:ext>
            </a:extLst>
          </p:cNvPr>
          <p:cNvPicPr>
            <a:picLocks noChangeAspect="1"/>
          </p:cNvPicPr>
          <p:nvPr/>
        </p:nvPicPr>
        <p:blipFill>
          <a:blip r:embed="rId5"/>
          <a:stretch>
            <a:fillRect/>
          </a:stretch>
        </p:blipFill>
        <p:spPr>
          <a:xfrm>
            <a:off x="3693184" y="876106"/>
            <a:ext cx="3038475" cy="1571625"/>
          </a:xfrm>
          <a:prstGeom prst="rect">
            <a:avLst/>
          </a:prstGeom>
        </p:spPr>
      </p:pic>
      <p:sp>
        <p:nvSpPr>
          <p:cNvPr id="17" name="TextBox 16">
            <a:extLst>
              <a:ext uri="{FF2B5EF4-FFF2-40B4-BE49-F238E27FC236}">
                <a16:creationId xmlns:a16="http://schemas.microsoft.com/office/drawing/2014/main" id="{F491F3A9-EECD-49AB-ACE5-413A93AEEEFB}"/>
              </a:ext>
            </a:extLst>
          </p:cNvPr>
          <p:cNvSpPr txBox="1"/>
          <p:nvPr/>
        </p:nvSpPr>
        <p:spPr>
          <a:xfrm>
            <a:off x="7015296" y="972113"/>
            <a:ext cx="4831423" cy="523220"/>
          </a:xfrm>
          <a:prstGeom prst="rect">
            <a:avLst/>
          </a:prstGeom>
          <a:noFill/>
        </p:spPr>
        <p:txBody>
          <a:bodyPr wrap="square">
            <a:spAutoFit/>
          </a:bodyPr>
          <a:lstStyle/>
          <a:p>
            <a:r>
              <a:rPr lang="en-US" sz="1400" dirty="0"/>
              <a:t>We can say that the lesser the inertia value, the better our clusters are.</a:t>
            </a:r>
          </a:p>
        </p:txBody>
      </p:sp>
      <p:grpSp>
        <p:nvGrpSpPr>
          <p:cNvPr id="18" name="Group 17">
            <a:extLst>
              <a:ext uri="{FF2B5EF4-FFF2-40B4-BE49-F238E27FC236}">
                <a16:creationId xmlns:a16="http://schemas.microsoft.com/office/drawing/2014/main" id="{82E026E8-31E8-4B45-8CC8-534FE71C3826}"/>
              </a:ext>
            </a:extLst>
          </p:cNvPr>
          <p:cNvGrpSpPr/>
          <p:nvPr/>
        </p:nvGrpSpPr>
        <p:grpSpPr>
          <a:xfrm>
            <a:off x="242299" y="2362964"/>
            <a:ext cx="2719387" cy="600074"/>
            <a:chOff x="4895849" y="1264846"/>
            <a:chExt cx="2966191" cy="600074"/>
          </a:xfrm>
        </p:grpSpPr>
        <p:sp>
          <p:nvSpPr>
            <p:cNvPr id="19" name="Rectangle: Rounded Corners 18">
              <a:extLst>
                <a:ext uri="{FF2B5EF4-FFF2-40B4-BE49-F238E27FC236}">
                  <a16:creationId xmlns:a16="http://schemas.microsoft.com/office/drawing/2014/main" id="{1D9069EE-5CFF-4D87-885E-2279235188AD}"/>
                </a:ext>
              </a:extLst>
            </p:cNvPr>
            <p:cNvSpPr/>
            <p:nvPr/>
          </p:nvSpPr>
          <p:spPr>
            <a:xfrm>
              <a:off x="5076825" y="1264846"/>
              <a:ext cx="2785215" cy="60007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en-US" sz="1600" b="1" dirty="0">
                  <a:solidFill>
                    <a:schemeClr val="tx1"/>
                  </a:solidFill>
                  <a:cs typeface="Arial" panose="020B0604020202020204" pitchFamily="34" charset="0"/>
                </a:rPr>
                <a:t>Dunn Index</a:t>
              </a:r>
            </a:p>
          </p:txBody>
        </p:sp>
        <p:sp>
          <p:nvSpPr>
            <p:cNvPr id="20" name="Oval 19">
              <a:extLst>
                <a:ext uri="{FF2B5EF4-FFF2-40B4-BE49-F238E27FC236}">
                  <a16:creationId xmlns:a16="http://schemas.microsoft.com/office/drawing/2014/main" id="{61EFED0A-BC70-4A1C-90AD-0DF8EA5272B1}"/>
                </a:ext>
              </a:extLst>
            </p:cNvPr>
            <p:cNvSpPr/>
            <p:nvPr/>
          </p:nvSpPr>
          <p:spPr>
            <a:xfrm>
              <a:off x="4895849" y="1364859"/>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a:t>
              </a:r>
            </a:p>
          </p:txBody>
        </p:sp>
      </p:grpSp>
      <p:sp>
        <p:nvSpPr>
          <p:cNvPr id="22" name="TextBox 21">
            <a:extLst>
              <a:ext uri="{FF2B5EF4-FFF2-40B4-BE49-F238E27FC236}">
                <a16:creationId xmlns:a16="http://schemas.microsoft.com/office/drawing/2014/main" id="{6396CEA7-A4AA-4A7A-9344-7C5E4041EC8C}"/>
              </a:ext>
            </a:extLst>
          </p:cNvPr>
          <p:cNvSpPr txBox="1"/>
          <p:nvPr/>
        </p:nvSpPr>
        <p:spPr>
          <a:xfrm>
            <a:off x="3011827" y="2376741"/>
            <a:ext cx="9081500" cy="738664"/>
          </a:xfrm>
          <a:prstGeom prst="rect">
            <a:avLst/>
          </a:prstGeom>
          <a:noFill/>
        </p:spPr>
        <p:txBody>
          <a:bodyPr wrap="square">
            <a:spAutoFit/>
          </a:bodyPr>
          <a:lstStyle/>
          <a:p>
            <a:r>
              <a:rPr lang="en-US" sz="1400" dirty="0"/>
              <a:t>If the distance between the centroid of a cluster and the points in that cluster is small, it means that the points are closer to each other. So, inertia makes sure that the first property of clusters is satisfied. But it does not care about the second property – that different clusters should be as different from each other as possible. </a:t>
            </a:r>
          </a:p>
        </p:txBody>
      </p:sp>
      <p:pic>
        <p:nvPicPr>
          <p:cNvPr id="24" name="Picture 23">
            <a:extLst>
              <a:ext uri="{FF2B5EF4-FFF2-40B4-BE49-F238E27FC236}">
                <a16:creationId xmlns:a16="http://schemas.microsoft.com/office/drawing/2014/main" id="{C32EE874-00F3-4766-86FA-3C958D59AAAD}"/>
              </a:ext>
            </a:extLst>
          </p:cNvPr>
          <p:cNvPicPr>
            <a:picLocks noChangeAspect="1"/>
          </p:cNvPicPr>
          <p:nvPr/>
        </p:nvPicPr>
        <p:blipFill>
          <a:blip r:embed="rId6"/>
          <a:stretch>
            <a:fillRect/>
          </a:stretch>
        </p:blipFill>
        <p:spPr>
          <a:xfrm>
            <a:off x="3159570" y="3577071"/>
            <a:ext cx="5026959" cy="1410928"/>
          </a:xfrm>
          <a:prstGeom prst="rect">
            <a:avLst/>
          </a:prstGeom>
        </p:spPr>
      </p:pic>
      <p:sp>
        <p:nvSpPr>
          <p:cNvPr id="26" name="TextBox 25">
            <a:extLst>
              <a:ext uri="{FF2B5EF4-FFF2-40B4-BE49-F238E27FC236}">
                <a16:creationId xmlns:a16="http://schemas.microsoft.com/office/drawing/2014/main" id="{1A91FC3E-F5E0-447C-B369-A275F32ABE0C}"/>
              </a:ext>
            </a:extLst>
          </p:cNvPr>
          <p:cNvSpPr txBox="1"/>
          <p:nvPr/>
        </p:nvSpPr>
        <p:spPr>
          <a:xfrm>
            <a:off x="8334272" y="3682370"/>
            <a:ext cx="3751691" cy="738664"/>
          </a:xfrm>
          <a:prstGeom prst="rect">
            <a:avLst/>
          </a:prstGeom>
          <a:noFill/>
        </p:spPr>
        <p:txBody>
          <a:bodyPr wrap="square">
            <a:spAutoFit/>
          </a:bodyPr>
          <a:lstStyle/>
          <a:p>
            <a:r>
              <a:rPr lang="en-US" sz="1400" dirty="0"/>
              <a:t>Dunn index is the ratio of the minimum of inter-cluster distances and maximum of intra cluster distances.</a:t>
            </a:r>
          </a:p>
        </p:txBody>
      </p:sp>
      <p:pic>
        <p:nvPicPr>
          <p:cNvPr id="28" name="Picture 27">
            <a:extLst>
              <a:ext uri="{FF2B5EF4-FFF2-40B4-BE49-F238E27FC236}">
                <a16:creationId xmlns:a16="http://schemas.microsoft.com/office/drawing/2014/main" id="{30C2FB5D-D532-4564-A94A-3D37B612917C}"/>
              </a:ext>
            </a:extLst>
          </p:cNvPr>
          <p:cNvPicPr>
            <a:picLocks noChangeAspect="1"/>
          </p:cNvPicPr>
          <p:nvPr/>
        </p:nvPicPr>
        <p:blipFill>
          <a:blip r:embed="rId7"/>
          <a:stretch>
            <a:fillRect/>
          </a:stretch>
        </p:blipFill>
        <p:spPr>
          <a:xfrm>
            <a:off x="241624" y="3892084"/>
            <a:ext cx="2770203" cy="903062"/>
          </a:xfrm>
          <a:prstGeom prst="rect">
            <a:avLst/>
          </a:prstGeom>
        </p:spPr>
      </p:pic>
      <p:grpSp>
        <p:nvGrpSpPr>
          <p:cNvPr id="29" name="Group 28">
            <a:extLst>
              <a:ext uri="{FF2B5EF4-FFF2-40B4-BE49-F238E27FC236}">
                <a16:creationId xmlns:a16="http://schemas.microsoft.com/office/drawing/2014/main" id="{E3E80C3E-2403-473C-87F3-886C1C3D7D70}"/>
              </a:ext>
            </a:extLst>
          </p:cNvPr>
          <p:cNvGrpSpPr/>
          <p:nvPr/>
        </p:nvGrpSpPr>
        <p:grpSpPr>
          <a:xfrm>
            <a:off x="325257" y="5115448"/>
            <a:ext cx="2719387" cy="600074"/>
            <a:chOff x="4895849" y="1264846"/>
            <a:chExt cx="2966191" cy="600074"/>
          </a:xfrm>
        </p:grpSpPr>
        <p:sp>
          <p:nvSpPr>
            <p:cNvPr id="30" name="Rectangle: Rounded Corners 29">
              <a:extLst>
                <a:ext uri="{FF2B5EF4-FFF2-40B4-BE49-F238E27FC236}">
                  <a16:creationId xmlns:a16="http://schemas.microsoft.com/office/drawing/2014/main" id="{1D2E8158-BE77-49DC-849C-F391B4A58942}"/>
                </a:ext>
              </a:extLst>
            </p:cNvPr>
            <p:cNvSpPr/>
            <p:nvPr/>
          </p:nvSpPr>
          <p:spPr>
            <a:xfrm>
              <a:off x="5076825" y="1264846"/>
              <a:ext cx="2785215" cy="60007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en-US" sz="1600" b="1" dirty="0">
                  <a:solidFill>
                    <a:schemeClr val="tx1"/>
                  </a:solidFill>
                  <a:cs typeface="Arial" panose="020B0604020202020204" pitchFamily="34" charset="0"/>
                </a:rPr>
                <a:t>Silhouette Score</a:t>
              </a:r>
            </a:p>
          </p:txBody>
        </p:sp>
        <p:sp>
          <p:nvSpPr>
            <p:cNvPr id="31" name="Oval 30">
              <a:extLst>
                <a:ext uri="{FF2B5EF4-FFF2-40B4-BE49-F238E27FC236}">
                  <a16:creationId xmlns:a16="http://schemas.microsoft.com/office/drawing/2014/main" id="{C0B9AB64-58BA-49AE-ADA9-5512F0D21FA1}"/>
                </a:ext>
              </a:extLst>
            </p:cNvPr>
            <p:cNvSpPr/>
            <p:nvPr/>
          </p:nvSpPr>
          <p:spPr>
            <a:xfrm>
              <a:off x="4895849" y="1364859"/>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3</a:t>
              </a:r>
            </a:p>
          </p:txBody>
        </p:sp>
      </p:grpSp>
      <p:grpSp>
        <p:nvGrpSpPr>
          <p:cNvPr id="38" name="Group 37">
            <a:extLst>
              <a:ext uri="{FF2B5EF4-FFF2-40B4-BE49-F238E27FC236}">
                <a16:creationId xmlns:a16="http://schemas.microsoft.com/office/drawing/2014/main" id="{EF87F8CF-B294-4B23-B7C8-1A23448760C1}"/>
              </a:ext>
            </a:extLst>
          </p:cNvPr>
          <p:cNvGrpSpPr/>
          <p:nvPr/>
        </p:nvGrpSpPr>
        <p:grpSpPr>
          <a:xfrm>
            <a:off x="408217" y="5731482"/>
            <a:ext cx="4379540" cy="915898"/>
            <a:chOff x="190674" y="5965686"/>
            <a:chExt cx="4456242" cy="1194640"/>
          </a:xfrm>
        </p:grpSpPr>
        <p:pic>
          <p:nvPicPr>
            <p:cNvPr id="36" name="Picture 35">
              <a:extLst>
                <a:ext uri="{FF2B5EF4-FFF2-40B4-BE49-F238E27FC236}">
                  <a16:creationId xmlns:a16="http://schemas.microsoft.com/office/drawing/2014/main" id="{EEED8B4B-3CC5-405E-B91A-9D780BBD8E8B}"/>
                </a:ext>
              </a:extLst>
            </p:cNvPr>
            <p:cNvPicPr>
              <a:picLocks noChangeAspect="1"/>
            </p:cNvPicPr>
            <p:nvPr/>
          </p:nvPicPr>
          <p:blipFill>
            <a:blip r:embed="rId8"/>
            <a:stretch>
              <a:fillRect/>
            </a:stretch>
          </p:blipFill>
          <p:spPr>
            <a:xfrm>
              <a:off x="190674" y="5965686"/>
              <a:ext cx="4456242" cy="1194640"/>
            </a:xfrm>
            <a:prstGeom prst="rect">
              <a:avLst/>
            </a:prstGeom>
          </p:spPr>
        </p:pic>
        <p:pic>
          <p:nvPicPr>
            <p:cNvPr id="34" name="Picture 33">
              <a:extLst>
                <a:ext uri="{FF2B5EF4-FFF2-40B4-BE49-F238E27FC236}">
                  <a16:creationId xmlns:a16="http://schemas.microsoft.com/office/drawing/2014/main" id="{1AD051E0-4BD1-4DED-A7CD-304828BC7523}"/>
                </a:ext>
              </a:extLst>
            </p:cNvPr>
            <p:cNvPicPr>
              <a:picLocks noChangeAspect="1"/>
            </p:cNvPicPr>
            <p:nvPr/>
          </p:nvPicPr>
          <p:blipFill>
            <a:blip r:embed="rId9"/>
            <a:stretch>
              <a:fillRect/>
            </a:stretch>
          </p:blipFill>
          <p:spPr>
            <a:xfrm>
              <a:off x="1404810" y="6380762"/>
              <a:ext cx="2636427" cy="275905"/>
            </a:xfrm>
            <a:prstGeom prst="rect">
              <a:avLst/>
            </a:prstGeom>
          </p:spPr>
        </p:pic>
      </p:grpSp>
      <p:sp>
        <p:nvSpPr>
          <p:cNvPr id="37" name="TextBox 36">
            <a:extLst>
              <a:ext uri="{FF2B5EF4-FFF2-40B4-BE49-F238E27FC236}">
                <a16:creationId xmlns:a16="http://schemas.microsoft.com/office/drawing/2014/main" id="{03F1D95C-4484-4AE8-84B9-3682FABDAE5E}"/>
              </a:ext>
            </a:extLst>
          </p:cNvPr>
          <p:cNvSpPr txBox="1"/>
          <p:nvPr/>
        </p:nvSpPr>
        <p:spPr>
          <a:xfrm>
            <a:off x="3210561" y="5115448"/>
            <a:ext cx="4679991" cy="307777"/>
          </a:xfrm>
          <a:prstGeom prst="rect">
            <a:avLst/>
          </a:prstGeom>
          <a:noFill/>
        </p:spPr>
        <p:txBody>
          <a:bodyPr wrap="square">
            <a:spAutoFit/>
          </a:bodyPr>
          <a:lstStyle/>
          <a:p>
            <a:r>
              <a:rPr lang="en-US" sz="1400" dirty="0"/>
              <a:t>Goodness of fit for number of clusters</a:t>
            </a:r>
          </a:p>
        </p:txBody>
      </p:sp>
      <p:sp>
        <p:nvSpPr>
          <p:cNvPr id="40" name="TextBox 39">
            <a:extLst>
              <a:ext uri="{FF2B5EF4-FFF2-40B4-BE49-F238E27FC236}">
                <a16:creationId xmlns:a16="http://schemas.microsoft.com/office/drawing/2014/main" id="{461A33E5-8ECD-47B4-BBAF-291F07E1AD52}"/>
              </a:ext>
            </a:extLst>
          </p:cNvPr>
          <p:cNvSpPr txBox="1"/>
          <p:nvPr/>
        </p:nvSpPr>
        <p:spPr>
          <a:xfrm>
            <a:off x="6285215" y="5301111"/>
            <a:ext cx="5643082" cy="1169551"/>
          </a:xfrm>
          <a:prstGeom prst="rect">
            <a:avLst/>
          </a:prstGeom>
          <a:noFill/>
        </p:spPr>
        <p:txBody>
          <a:bodyPr wrap="square">
            <a:spAutoFit/>
          </a:bodyPr>
          <a:lstStyle/>
          <a:p>
            <a:r>
              <a:rPr lang="en-US" sz="1400" b="0" i="0" dirty="0">
                <a:effectLst/>
              </a:rPr>
              <a:t>The value of the Silhouette score varies from -1 to 1. If the score is 1, the cluster is dense and well-separated than other clusters. A value near 0 represents overlapping clusters with samples very close to the decision boundary of the neighboring clusters. A negative score [-1, 0] indicates that the samples might have got assigned to the wrong clusters</a:t>
            </a:r>
            <a:endParaRPr lang="en-US" sz="1400" dirty="0"/>
          </a:p>
        </p:txBody>
      </p:sp>
    </p:spTree>
    <p:extLst>
      <p:ext uri="{BB962C8B-B14F-4D97-AF65-F5344CB8AC3E}">
        <p14:creationId xmlns:p14="http://schemas.microsoft.com/office/powerpoint/2010/main" val="3717881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971473-89DA-42F1-A168-6C01E78351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19971473-89DA-42F1-A168-6C01E7835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object 2">
            <a:extLst>
              <a:ext uri="{FF2B5EF4-FFF2-40B4-BE49-F238E27FC236}">
                <a16:creationId xmlns:a16="http://schemas.microsoft.com/office/drawing/2014/main" id="{777BE039-B209-4E46-991D-ECC2BF4D8AF3}"/>
              </a:ext>
            </a:extLst>
          </p:cNvPr>
          <p:cNvSpPr txBox="1">
            <a:spLocks/>
          </p:cNvSpPr>
          <p:nvPr/>
        </p:nvSpPr>
        <p:spPr>
          <a:xfrm>
            <a:off x="268287" y="96045"/>
            <a:ext cx="8296275" cy="696912"/>
          </a:xfrm>
          <a:prstGeom prst="rect">
            <a:avLst/>
          </a:prstGeom>
        </p:spPr>
        <p:txBody>
          <a:bodyPr vert="horz" lIns="91440" tIns="13335" rIns="91440" bIns="45720" rtlCol="0" anchor="ctr">
            <a:normAutofit fontScale="7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marR="0" lvl="0" indent="0" algn="l" defTabSz="914400" rtl="0" eaLnBrk="1" fontAlgn="auto" latinLnBrk="0" hangingPunct="1">
              <a:lnSpc>
                <a:spcPct val="90000"/>
              </a:lnSpc>
              <a:spcBef>
                <a:spcPct val="0"/>
              </a:spcBef>
              <a:spcAft>
                <a:spcPts val="0"/>
              </a:spcAft>
              <a:buClrTx/>
              <a:buSzTx/>
              <a:buFontTx/>
              <a:buNone/>
              <a:tabLst/>
              <a:defRPr/>
            </a:pPr>
            <a:r>
              <a:rPr lang="en-US" sz="4300" b="1" kern="0" dirty="0">
                <a:solidFill>
                  <a:srgbClr val="000000"/>
                </a:solidFill>
                <a:latin typeface="+mn-lt"/>
              </a:rPr>
              <a:t>Finding the number of Clusters – K means?</a:t>
            </a:r>
          </a:p>
        </p:txBody>
      </p:sp>
      <p:sp>
        <p:nvSpPr>
          <p:cNvPr id="28" name="Rectangle: Rounded Corners 27">
            <a:extLst>
              <a:ext uri="{FF2B5EF4-FFF2-40B4-BE49-F238E27FC236}">
                <a16:creationId xmlns:a16="http://schemas.microsoft.com/office/drawing/2014/main" id="{7DB4CD6C-5AA7-45FB-BA36-D8C1306097DB}"/>
              </a:ext>
            </a:extLst>
          </p:cNvPr>
          <p:cNvSpPr/>
          <p:nvPr/>
        </p:nvSpPr>
        <p:spPr>
          <a:xfrm>
            <a:off x="434205" y="1026235"/>
            <a:ext cx="2553469" cy="60007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lbow Method</a:t>
            </a:r>
            <a:endPar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30" name="TextBox 29">
            <a:extLst>
              <a:ext uri="{FF2B5EF4-FFF2-40B4-BE49-F238E27FC236}">
                <a16:creationId xmlns:a16="http://schemas.microsoft.com/office/drawing/2014/main" id="{67E17D77-72D5-49C3-845C-3CA51FE5D470}"/>
              </a:ext>
            </a:extLst>
          </p:cNvPr>
          <p:cNvSpPr txBox="1"/>
          <p:nvPr/>
        </p:nvSpPr>
        <p:spPr>
          <a:xfrm>
            <a:off x="434205" y="1655045"/>
            <a:ext cx="11589202" cy="50167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292929"/>
                </a:solidFill>
                <a:latin typeface="charter"/>
              </a:rPr>
              <a:t>For each value of K (number of clusters) calculate within cluster sum of squares (WSS) or inertia. Ideally the WSS value should monotonically decreasing meaning as number of clusters increases the WSS should decrea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92929"/>
              </a:solidFill>
              <a:effectLst/>
              <a:uLnTx/>
              <a:uFillTx/>
              <a:latin typeface="charter"/>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rgbClr val="595858"/>
                </a:solidFill>
                <a:effectLst/>
                <a:latin typeface="roboto"/>
              </a:rPr>
              <a:t>WSS is the sum of squared distance between each point and the centroid in a cluster. We plot the WSS with the K value, the plot looks like an Elb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u="none" strike="noStrike" kern="1200" cap="none" spc="0" normalizeH="0" baseline="0" noProof="0" dirty="0">
              <a:ln>
                <a:noFill/>
              </a:ln>
              <a:solidFill>
                <a:srgbClr val="595858"/>
              </a:solidFill>
              <a:uLnTx/>
              <a:uFillTx/>
              <a:latin typeface="roboto"/>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92929"/>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92929"/>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292929"/>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92929"/>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292929"/>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92929"/>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292929"/>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92929"/>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292929"/>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292929"/>
                </a:solidFill>
                <a:latin typeface="Calibri" panose="020F0502020204030204" pitchFamily="34" charset="0"/>
                <a:cs typeface="Calibri" panose="020F0502020204030204" pitchFamily="34" charset="0"/>
              </a:rPr>
              <a:t>Wherever the graph takes an elbow shape or kink appears, we select the number of clusters accordingly. In the above graph K=5 is the optimal number of clusters should be chos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92929"/>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292929"/>
                </a:solidFill>
                <a:latin typeface="Calibri" panose="020F0502020204030204" pitchFamily="34" charset="0"/>
                <a:cs typeface="Calibri" panose="020F0502020204030204" pitchFamily="34" charset="0"/>
              </a:rPr>
              <a:t>Note – </a:t>
            </a:r>
            <a:r>
              <a:rPr lang="en-US" sz="1600" dirty="0">
                <a:solidFill>
                  <a:srgbClr val="292929"/>
                </a:solidFill>
                <a:latin typeface="Calibri" panose="020F0502020204030204" pitchFamily="34" charset="0"/>
                <a:cs typeface="Calibri" panose="020F0502020204030204" pitchFamily="34" charset="0"/>
              </a:rPr>
              <a:t>There are other ways to select the number of clusters like – wherever the </a:t>
            </a:r>
            <a:r>
              <a:rPr lang="en-US" sz="1600" dirty="0" err="1">
                <a:solidFill>
                  <a:srgbClr val="292929"/>
                </a:solidFill>
                <a:latin typeface="Calibri" panose="020F0502020204030204" pitchFamily="34" charset="0"/>
                <a:cs typeface="Calibri" panose="020F0502020204030204" pitchFamily="34" charset="0"/>
              </a:rPr>
              <a:t>Silhoutte</a:t>
            </a:r>
            <a:r>
              <a:rPr lang="en-US" sz="1600" dirty="0">
                <a:solidFill>
                  <a:srgbClr val="292929"/>
                </a:solidFill>
                <a:latin typeface="Calibri" panose="020F0502020204030204" pitchFamily="34" charset="0"/>
                <a:cs typeface="Calibri" panose="020F0502020204030204" pitchFamily="34" charset="0"/>
              </a:rPr>
              <a:t> score is highest, or using hierarchical clustering before k-means to come up with number of clusters </a:t>
            </a:r>
            <a:endParaRPr kumimoji="0" lang="en-US" sz="1600" b="0" i="0" u="none" strike="noStrike" kern="1200" cap="none" spc="0" normalizeH="0" baseline="0" noProof="0" dirty="0">
              <a:ln>
                <a:noFill/>
              </a:ln>
              <a:solidFill>
                <a:srgbClr val="292929"/>
              </a:solidFill>
              <a:effectLst/>
              <a:uLnTx/>
              <a:uFillTx/>
              <a:latin typeface="Calibri" panose="020F0502020204030204" pitchFamily="34" charset="0"/>
              <a:ea typeface="+mn-ea"/>
              <a:cs typeface="Calibri" panose="020F0502020204030204" pitchFamily="34" charset="0"/>
            </a:endParaRPr>
          </a:p>
        </p:txBody>
      </p:sp>
      <p:pic>
        <p:nvPicPr>
          <p:cNvPr id="7" name="Picture 6">
            <a:extLst>
              <a:ext uri="{FF2B5EF4-FFF2-40B4-BE49-F238E27FC236}">
                <a16:creationId xmlns:a16="http://schemas.microsoft.com/office/drawing/2014/main" id="{5B74D3B6-720B-4BA3-9A42-FF2037AFDF51}"/>
              </a:ext>
            </a:extLst>
          </p:cNvPr>
          <p:cNvPicPr>
            <a:picLocks noChangeAspect="1"/>
          </p:cNvPicPr>
          <p:nvPr/>
        </p:nvPicPr>
        <p:blipFill>
          <a:blip r:embed="rId5"/>
          <a:stretch>
            <a:fillRect/>
          </a:stretch>
        </p:blipFill>
        <p:spPr>
          <a:xfrm>
            <a:off x="2987674" y="2836869"/>
            <a:ext cx="3871255" cy="2473481"/>
          </a:xfrm>
          <a:prstGeom prst="rect">
            <a:avLst/>
          </a:prstGeom>
        </p:spPr>
      </p:pic>
    </p:spTree>
    <p:extLst>
      <p:ext uri="{BB962C8B-B14F-4D97-AF65-F5344CB8AC3E}">
        <p14:creationId xmlns:p14="http://schemas.microsoft.com/office/powerpoint/2010/main" val="33067310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03C504A-BBE8-4A28-B085-DEF232DB310E}"/>
              </a:ext>
            </a:extLst>
          </p:cNvPr>
          <p:cNvGraphicFramePr>
            <a:graphicFrameLocks noChangeAspect="1"/>
          </p:cNvGraphicFramePr>
          <p:nvPr>
            <p:custDataLst>
              <p:tags r:id="rId1"/>
            </p:custDataLst>
            <p:extLst>
              <p:ext uri="{D42A27DB-BD31-4B8C-83A1-F6EECF244321}">
                <p14:modId xmlns:p14="http://schemas.microsoft.com/office/powerpoint/2010/main" val="213946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C03C504A-BBE8-4A28-B085-DEF232DB31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30873A-47BB-4799-A633-7CD6F940B805}"/>
              </a:ext>
            </a:extLst>
          </p:cNvPr>
          <p:cNvSpPr>
            <a:spLocks noGrp="1"/>
          </p:cNvSpPr>
          <p:nvPr>
            <p:ph type="title"/>
          </p:nvPr>
        </p:nvSpPr>
        <p:spPr>
          <a:xfrm>
            <a:off x="242299" y="169916"/>
            <a:ext cx="11685998" cy="652017"/>
          </a:xfrm>
        </p:spPr>
        <p:txBody>
          <a:bodyPr vert="horz">
            <a:normAutofit/>
          </a:bodyPr>
          <a:lstStyle/>
          <a:p>
            <a:r>
              <a:rPr lang="en-US" sz="3300" b="1" kern="0" dirty="0">
                <a:solidFill>
                  <a:srgbClr val="000000"/>
                </a:solidFill>
                <a:latin typeface="+mn-lt"/>
              </a:rPr>
              <a:t>Process Flow for Cluster Analysis – K-means</a:t>
            </a:r>
          </a:p>
        </p:txBody>
      </p:sp>
      <p:sp>
        <p:nvSpPr>
          <p:cNvPr id="9" name="AutoShape 16">
            <a:extLst>
              <a:ext uri="{FF2B5EF4-FFF2-40B4-BE49-F238E27FC236}">
                <a16:creationId xmlns:a16="http://schemas.microsoft.com/office/drawing/2014/main" id="{517E0D4D-730F-4C8E-93F2-2D6D3D47619B}"/>
              </a:ext>
            </a:extLst>
          </p:cNvPr>
          <p:cNvSpPr>
            <a:spLocks noChangeArrowheads="1"/>
          </p:cNvSpPr>
          <p:nvPr/>
        </p:nvSpPr>
        <p:spPr bwMode="auto">
          <a:xfrm>
            <a:off x="3517134" y="1477958"/>
            <a:ext cx="778039" cy="519678"/>
          </a:xfrm>
          <a:prstGeom prst="rightArrow">
            <a:avLst>
              <a:gd name="adj1" fmla="val 50000"/>
              <a:gd name="adj2" fmla="val 8258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AutoShape 17">
            <a:extLst>
              <a:ext uri="{FF2B5EF4-FFF2-40B4-BE49-F238E27FC236}">
                <a16:creationId xmlns:a16="http://schemas.microsoft.com/office/drawing/2014/main" id="{B72E7820-0776-4AB3-A035-C7589E9FB38B}"/>
              </a:ext>
            </a:extLst>
          </p:cNvPr>
          <p:cNvSpPr>
            <a:spLocks noChangeArrowheads="1"/>
          </p:cNvSpPr>
          <p:nvPr/>
        </p:nvSpPr>
        <p:spPr bwMode="auto">
          <a:xfrm>
            <a:off x="5974584" y="1455733"/>
            <a:ext cx="722312" cy="519678"/>
          </a:xfrm>
          <a:prstGeom prst="rightArrow">
            <a:avLst>
              <a:gd name="adj1" fmla="val 50000"/>
              <a:gd name="adj2" fmla="val 8258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Box 19">
            <a:extLst>
              <a:ext uri="{FF2B5EF4-FFF2-40B4-BE49-F238E27FC236}">
                <a16:creationId xmlns:a16="http://schemas.microsoft.com/office/drawing/2014/main" id="{0D5E7B69-9667-4E93-B6FD-56DF452EFCEA}"/>
              </a:ext>
            </a:extLst>
          </p:cNvPr>
          <p:cNvSpPr txBox="1">
            <a:spLocks noChangeArrowheads="1"/>
          </p:cNvSpPr>
          <p:nvPr/>
        </p:nvSpPr>
        <p:spPr bwMode="auto">
          <a:xfrm>
            <a:off x="1548634" y="1278217"/>
            <a:ext cx="1870075" cy="83099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1" u="none" strike="noStrike" kern="1200" cap="none" spc="0" normalizeH="0" baseline="0" noProof="0" dirty="0">
                <a:ln>
                  <a:noFill/>
                </a:ln>
                <a:solidFill>
                  <a:srgbClr val="ED7D31"/>
                </a:solidFill>
                <a:effectLst/>
                <a:uLnTx/>
                <a:uFillTx/>
                <a:latin typeface="Calibri" panose="020F0502020204030204"/>
                <a:ea typeface="+mn-ea"/>
                <a:cs typeface="+mn-cs"/>
              </a:rPr>
              <a:t>Collect and  Prepare the data for analysis</a:t>
            </a:r>
          </a:p>
        </p:txBody>
      </p:sp>
      <p:sp>
        <p:nvSpPr>
          <p:cNvPr id="16" name="Text Box 20">
            <a:extLst>
              <a:ext uri="{FF2B5EF4-FFF2-40B4-BE49-F238E27FC236}">
                <a16:creationId xmlns:a16="http://schemas.microsoft.com/office/drawing/2014/main" id="{9D90E3F3-F26E-48B6-B599-44DE89A9448D}"/>
              </a:ext>
            </a:extLst>
          </p:cNvPr>
          <p:cNvSpPr txBox="1">
            <a:spLocks noChangeArrowheads="1"/>
          </p:cNvSpPr>
          <p:nvPr/>
        </p:nvSpPr>
        <p:spPr bwMode="auto">
          <a:xfrm>
            <a:off x="4462627" y="1278217"/>
            <a:ext cx="1447800" cy="83099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1" u="none" strike="noStrike" kern="1200" cap="none" spc="0" normalizeH="0" baseline="0" noProof="0" dirty="0">
                <a:ln>
                  <a:noFill/>
                </a:ln>
                <a:solidFill>
                  <a:srgbClr val="ED7D31"/>
                </a:solidFill>
                <a:effectLst/>
                <a:uLnTx/>
                <a:uFillTx/>
                <a:latin typeface="Calibri" panose="020F0502020204030204"/>
                <a:ea typeface="+mn-ea"/>
                <a:cs typeface="+mn-cs"/>
              </a:rPr>
              <a:t>Creating New Relevant Variables</a:t>
            </a:r>
          </a:p>
        </p:txBody>
      </p:sp>
      <p:sp>
        <p:nvSpPr>
          <p:cNvPr id="17" name="Text Box 21">
            <a:extLst>
              <a:ext uri="{FF2B5EF4-FFF2-40B4-BE49-F238E27FC236}">
                <a16:creationId xmlns:a16="http://schemas.microsoft.com/office/drawing/2014/main" id="{113015B7-3308-4B0A-81DB-A1D3E4B2D3C3}"/>
              </a:ext>
            </a:extLst>
          </p:cNvPr>
          <p:cNvSpPr txBox="1">
            <a:spLocks noChangeArrowheads="1"/>
          </p:cNvSpPr>
          <p:nvPr/>
        </p:nvSpPr>
        <p:spPr bwMode="auto">
          <a:xfrm>
            <a:off x="6864350" y="1205069"/>
            <a:ext cx="1747892" cy="83099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1" u="none" strike="noStrike" kern="1200" cap="none" spc="0" normalizeH="0" baseline="0" noProof="0" dirty="0">
                <a:ln>
                  <a:noFill/>
                </a:ln>
                <a:solidFill>
                  <a:srgbClr val="ED7D31"/>
                </a:solidFill>
                <a:effectLst/>
                <a:uLnTx/>
                <a:uFillTx/>
                <a:latin typeface="Calibri" panose="020F0502020204030204"/>
                <a:ea typeface="+mn-ea"/>
                <a:cs typeface="+mn-cs"/>
              </a:rPr>
              <a:t>Create Training and Validation datasets</a:t>
            </a:r>
          </a:p>
        </p:txBody>
      </p:sp>
      <p:sp>
        <p:nvSpPr>
          <p:cNvPr id="18" name="Text Box 22">
            <a:extLst>
              <a:ext uri="{FF2B5EF4-FFF2-40B4-BE49-F238E27FC236}">
                <a16:creationId xmlns:a16="http://schemas.microsoft.com/office/drawing/2014/main" id="{A7ABE1A5-3904-492F-9C42-E6E433BCC48C}"/>
              </a:ext>
            </a:extLst>
          </p:cNvPr>
          <p:cNvSpPr txBox="1">
            <a:spLocks noChangeArrowheads="1"/>
          </p:cNvSpPr>
          <p:nvPr/>
        </p:nvSpPr>
        <p:spPr bwMode="auto">
          <a:xfrm>
            <a:off x="5576121" y="3005532"/>
            <a:ext cx="2041525" cy="5847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1" u="none" strike="noStrike" kern="1200" cap="none" spc="0" normalizeH="0" baseline="0" noProof="0">
                <a:ln>
                  <a:noFill/>
                </a:ln>
                <a:solidFill>
                  <a:srgbClr val="ED7D31"/>
                </a:solidFill>
                <a:effectLst/>
                <a:uLnTx/>
                <a:uFillTx/>
                <a:latin typeface="Calibri" panose="020F0502020204030204"/>
                <a:ea typeface="+mn-ea"/>
                <a:cs typeface="+mn-cs"/>
              </a:rPr>
              <a:t>Treatment of Missing Values</a:t>
            </a:r>
          </a:p>
        </p:txBody>
      </p:sp>
      <p:sp>
        <p:nvSpPr>
          <p:cNvPr id="20" name="AutoShape 24">
            <a:extLst>
              <a:ext uri="{FF2B5EF4-FFF2-40B4-BE49-F238E27FC236}">
                <a16:creationId xmlns:a16="http://schemas.microsoft.com/office/drawing/2014/main" id="{727AAAAF-57A4-4A32-92FC-C9797D161F74}"/>
              </a:ext>
            </a:extLst>
          </p:cNvPr>
          <p:cNvSpPr>
            <a:spLocks noChangeArrowheads="1"/>
          </p:cNvSpPr>
          <p:nvPr/>
        </p:nvSpPr>
        <p:spPr bwMode="auto">
          <a:xfrm rot="5410311">
            <a:off x="8699243" y="1613968"/>
            <a:ext cx="1264793" cy="1260646"/>
          </a:xfrm>
          <a:custGeom>
            <a:avLst/>
            <a:gdLst>
              <a:gd name="T0" fmla="*/ 984660 w 21600"/>
              <a:gd name="T1" fmla="*/ 0 h 21600"/>
              <a:gd name="T2" fmla="*/ 984660 w 21600"/>
              <a:gd name="T3" fmla="*/ 671955 h 21600"/>
              <a:gd name="T4" fmla="*/ 108834 w 21600"/>
              <a:gd name="T5" fmla="*/ 1193800 h 21600"/>
              <a:gd name="T6" fmla="*/ 1265238 w 21600"/>
              <a:gd name="T7" fmla="*/ 335977 h 21600"/>
              <a:gd name="T8" fmla="*/ 17694720 60000 65536"/>
              <a:gd name="T9" fmla="*/ 5898240 60000 65536"/>
              <a:gd name="T10" fmla="*/ 5898240 60000 65536"/>
              <a:gd name="T11" fmla="*/ 0 60000 65536"/>
              <a:gd name="T12" fmla="*/ 12427 w 21600"/>
              <a:gd name="T13" fmla="*/ 4261 h 21600"/>
              <a:gd name="T14" fmla="*/ 20167 w 21600"/>
              <a:gd name="T15" fmla="*/ 7897 h 21600"/>
            </a:gdLst>
            <a:ahLst/>
            <a:cxnLst>
              <a:cxn ang="T8">
                <a:pos x="T0" y="T1"/>
              </a:cxn>
              <a:cxn ang="T9">
                <a:pos x="T2" y="T3"/>
              </a:cxn>
              <a:cxn ang="T10">
                <a:pos x="T4" y="T5"/>
              </a:cxn>
              <a:cxn ang="T11">
                <a:pos x="T6" y="T7"/>
              </a:cxn>
            </a:cxnLst>
            <a:rect l="T12" t="T13" r="T14" b="T15"/>
            <a:pathLst>
              <a:path w="21600" h="21600">
                <a:moveTo>
                  <a:pt x="21600" y="6079"/>
                </a:moveTo>
                <a:lnTo>
                  <a:pt x="16810" y="0"/>
                </a:lnTo>
                <a:lnTo>
                  <a:pt x="16810" y="4261"/>
                </a:lnTo>
                <a:lnTo>
                  <a:pt x="12427" y="4261"/>
                </a:lnTo>
                <a:cubicBezTo>
                  <a:pt x="5564" y="4261"/>
                  <a:pt x="0" y="7797"/>
                  <a:pt x="0" y="12158"/>
                </a:cubicBezTo>
                <a:lnTo>
                  <a:pt x="0" y="21600"/>
                </a:lnTo>
                <a:lnTo>
                  <a:pt x="3716" y="21600"/>
                </a:lnTo>
                <a:lnTo>
                  <a:pt x="3716" y="12158"/>
                </a:lnTo>
                <a:cubicBezTo>
                  <a:pt x="3716" y="9805"/>
                  <a:pt x="7616" y="7897"/>
                  <a:pt x="12427" y="7897"/>
                </a:cubicBezTo>
                <a:lnTo>
                  <a:pt x="16810" y="7897"/>
                </a:lnTo>
                <a:lnTo>
                  <a:pt x="16810" y="12158"/>
                </a:lnTo>
                <a:lnTo>
                  <a:pt x="21600" y="6079"/>
                </a:lnTo>
                <a:close/>
              </a:path>
            </a:pathLst>
          </a:cu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Text Box 25">
            <a:extLst>
              <a:ext uri="{FF2B5EF4-FFF2-40B4-BE49-F238E27FC236}">
                <a16:creationId xmlns:a16="http://schemas.microsoft.com/office/drawing/2014/main" id="{4543217F-E518-4E80-8CB2-2B7799F06C72}"/>
              </a:ext>
            </a:extLst>
          </p:cNvPr>
          <p:cNvSpPr txBox="1">
            <a:spLocks noChangeArrowheads="1"/>
          </p:cNvSpPr>
          <p:nvPr/>
        </p:nvSpPr>
        <p:spPr bwMode="auto">
          <a:xfrm>
            <a:off x="1943921" y="2179917"/>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1" u="none" strike="noStrike" kern="1200" cap="none" spc="0" normalizeH="0" baseline="0" noProof="0">
                <a:ln>
                  <a:noFill/>
                </a:ln>
                <a:solidFill>
                  <a:prstClr val="black"/>
                </a:solidFill>
                <a:effectLst/>
                <a:uLnTx/>
                <a:uFillTx/>
                <a:latin typeface="Calibri" panose="020F0502020204030204"/>
                <a:ea typeface="+mn-ea"/>
                <a:cs typeface="+mn-cs"/>
              </a:rPr>
              <a:t>Step 1</a:t>
            </a:r>
            <a:endParaRPr kumimoji="0" lang="en-US" alt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Text Box 26">
            <a:extLst>
              <a:ext uri="{FF2B5EF4-FFF2-40B4-BE49-F238E27FC236}">
                <a16:creationId xmlns:a16="http://schemas.microsoft.com/office/drawing/2014/main" id="{B7234A52-82B0-4243-89C9-201A024DEADA}"/>
              </a:ext>
            </a:extLst>
          </p:cNvPr>
          <p:cNvSpPr txBox="1">
            <a:spLocks noChangeArrowheads="1"/>
          </p:cNvSpPr>
          <p:nvPr/>
        </p:nvSpPr>
        <p:spPr bwMode="auto">
          <a:xfrm>
            <a:off x="4698234" y="2175155"/>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1" u="none" strike="noStrike" kern="1200" cap="none" spc="0" normalizeH="0" baseline="0" noProof="0">
                <a:ln>
                  <a:noFill/>
                </a:ln>
                <a:solidFill>
                  <a:prstClr val="black"/>
                </a:solidFill>
                <a:effectLst/>
                <a:uLnTx/>
                <a:uFillTx/>
                <a:latin typeface="Calibri" panose="020F0502020204030204"/>
                <a:ea typeface="+mn-ea"/>
                <a:cs typeface="+mn-cs"/>
              </a:rPr>
              <a:t>Step 2</a:t>
            </a:r>
            <a:endParaRPr kumimoji="0" lang="en-US" alt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 Box 27">
            <a:extLst>
              <a:ext uri="{FF2B5EF4-FFF2-40B4-BE49-F238E27FC236}">
                <a16:creationId xmlns:a16="http://schemas.microsoft.com/office/drawing/2014/main" id="{2A2D25D6-F0CA-4D68-8EEF-1483996AC11D}"/>
              </a:ext>
            </a:extLst>
          </p:cNvPr>
          <p:cNvSpPr txBox="1">
            <a:spLocks noChangeArrowheads="1"/>
          </p:cNvSpPr>
          <p:nvPr/>
        </p:nvSpPr>
        <p:spPr bwMode="auto">
          <a:xfrm>
            <a:off x="7381319" y="2092165"/>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1" u="none" strike="noStrike" kern="1200" cap="none" spc="0" normalizeH="0" baseline="0" noProof="0" dirty="0">
                <a:ln>
                  <a:noFill/>
                </a:ln>
                <a:solidFill>
                  <a:prstClr val="black"/>
                </a:solidFill>
                <a:effectLst/>
                <a:uLnTx/>
                <a:uFillTx/>
                <a:latin typeface="Calibri" panose="020F0502020204030204"/>
                <a:ea typeface="+mn-ea"/>
                <a:cs typeface="+mn-cs"/>
              </a:rPr>
              <a:t>Step 3</a:t>
            </a:r>
            <a:endPar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 Box 28">
            <a:extLst>
              <a:ext uri="{FF2B5EF4-FFF2-40B4-BE49-F238E27FC236}">
                <a16:creationId xmlns:a16="http://schemas.microsoft.com/office/drawing/2014/main" id="{ADA879AE-02FC-4C44-A8B0-EEA5CC3A5834}"/>
              </a:ext>
            </a:extLst>
          </p:cNvPr>
          <p:cNvSpPr txBox="1">
            <a:spLocks noChangeArrowheads="1"/>
          </p:cNvSpPr>
          <p:nvPr/>
        </p:nvSpPr>
        <p:spPr bwMode="auto">
          <a:xfrm>
            <a:off x="8908284" y="3588145"/>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1" u="none" strike="noStrike" kern="1200" cap="none" spc="0" normalizeH="0" baseline="0" noProof="0">
                <a:ln>
                  <a:noFill/>
                </a:ln>
                <a:solidFill>
                  <a:prstClr val="black"/>
                </a:solidFill>
                <a:effectLst/>
                <a:uLnTx/>
                <a:uFillTx/>
                <a:latin typeface="Calibri" panose="020F0502020204030204"/>
                <a:ea typeface="+mn-ea"/>
                <a:cs typeface="+mn-cs"/>
              </a:rPr>
              <a:t>Step 4</a:t>
            </a:r>
            <a:endParaRPr kumimoji="0" lang="en-US" alt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Text Box 29">
            <a:extLst>
              <a:ext uri="{FF2B5EF4-FFF2-40B4-BE49-F238E27FC236}">
                <a16:creationId xmlns:a16="http://schemas.microsoft.com/office/drawing/2014/main" id="{2607C9A8-1491-438C-B7C9-CDFB4CDB8288}"/>
              </a:ext>
            </a:extLst>
          </p:cNvPr>
          <p:cNvSpPr txBox="1">
            <a:spLocks noChangeArrowheads="1"/>
          </p:cNvSpPr>
          <p:nvPr/>
        </p:nvSpPr>
        <p:spPr bwMode="auto">
          <a:xfrm>
            <a:off x="8654284" y="2980132"/>
            <a:ext cx="1308100" cy="5847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1" u="none" strike="noStrike" kern="1200" cap="none" spc="0" normalizeH="0" baseline="0" noProof="0" dirty="0">
                <a:ln>
                  <a:noFill/>
                </a:ln>
                <a:solidFill>
                  <a:srgbClr val="ED7D31"/>
                </a:solidFill>
                <a:effectLst/>
                <a:uLnTx/>
                <a:uFillTx/>
                <a:latin typeface="Calibri" panose="020F0502020204030204"/>
                <a:ea typeface="+mn-ea"/>
                <a:cs typeface="+mn-cs"/>
              </a:rPr>
              <a:t>Tackling the Outliers</a:t>
            </a:r>
          </a:p>
        </p:txBody>
      </p:sp>
      <p:sp>
        <p:nvSpPr>
          <p:cNvPr id="26" name="AutoShape 30">
            <a:extLst>
              <a:ext uri="{FF2B5EF4-FFF2-40B4-BE49-F238E27FC236}">
                <a16:creationId xmlns:a16="http://schemas.microsoft.com/office/drawing/2014/main" id="{6EBC7EC8-5A53-427F-9FB0-5672F12D799A}"/>
              </a:ext>
            </a:extLst>
          </p:cNvPr>
          <p:cNvSpPr>
            <a:spLocks noChangeArrowheads="1"/>
          </p:cNvSpPr>
          <p:nvPr/>
        </p:nvSpPr>
        <p:spPr bwMode="auto">
          <a:xfrm>
            <a:off x="7671620" y="3071923"/>
            <a:ext cx="847725" cy="519678"/>
          </a:xfrm>
          <a:prstGeom prst="leftArrow">
            <a:avLst>
              <a:gd name="adj1" fmla="val 50000"/>
              <a:gd name="adj2" fmla="val 81639"/>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Text Box 31">
            <a:extLst>
              <a:ext uri="{FF2B5EF4-FFF2-40B4-BE49-F238E27FC236}">
                <a16:creationId xmlns:a16="http://schemas.microsoft.com/office/drawing/2014/main" id="{08553D9D-8D5C-4878-A974-0BC99F8A3F55}"/>
              </a:ext>
            </a:extLst>
          </p:cNvPr>
          <p:cNvSpPr txBox="1">
            <a:spLocks noChangeArrowheads="1"/>
          </p:cNvSpPr>
          <p:nvPr/>
        </p:nvSpPr>
        <p:spPr bwMode="auto">
          <a:xfrm>
            <a:off x="2707509" y="3016645"/>
            <a:ext cx="1690687" cy="5847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1" u="none" strike="noStrike" kern="1200" cap="none" spc="0" normalizeH="0" baseline="0" noProof="0">
                <a:ln>
                  <a:noFill/>
                </a:ln>
                <a:solidFill>
                  <a:srgbClr val="ED7D31"/>
                </a:solidFill>
                <a:effectLst/>
                <a:uLnTx/>
                <a:uFillTx/>
                <a:latin typeface="Calibri" panose="020F0502020204030204"/>
                <a:ea typeface="+mn-ea"/>
                <a:cs typeface="+mn-cs"/>
              </a:rPr>
              <a:t>Multicollinearity Check</a:t>
            </a:r>
          </a:p>
        </p:txBody>
      </p:sp>
      <p:sp>
        <p:nvSpPr>
          <p:cNvPr id="28" name="AutoShape 32">
            <a:extLst>
              <a:ext uri="{FF2B5EF4-FFF2-40B4-BE49-F238E27FC236}">
                <a16:creationId xmlns:a16="http://schemas.microsoft.com/office/drawing/2014/main" id="{EA1703AD-702A-419A-87DD-D88E709DBAC5}"/>
              </a:ext>
            </a:extLst>
          </p:cNvPr>
          <p:cNvSpPr>
            <a:spLocks noChangeArrowheads="1"/>
          </p:cNvSpPr>
          <p:nvPr/>
        </p:nvSpPr>
        <p:spPr bwMode="auto">
          <a:xfrm>
            <a:off x="4460109" y="3083036"/>
            <a:ext cx="989012" cy="519678"/>
          </a:xfrm>
          <a:prstGeom prst="leftArrow">
            <a:avLst>
              <a:gd name="adj1" fmla="val 50000"/>
              <a:gd name="adj2" fmla="val 87994"/>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Text Box 33">
            <a:extLst>
              <a:ext uri="{FF2B5EF4-FFF2-40B4-BE49-F238E27FC236}">
                <a16:creationId xmlns:a16="http://schemas.microsoft.com/office/drawing/2014/main" id="{3D3AAC74-AFDD-426B-B9F4-52386D8BF3A6}"/>
              </a:ext>
            </a:extLst>
          </p:cNvPr>
          <p:cNvSpPr txBox="1">
            <a:spLocks noChangeArrowheads="1"/>
          </p:cNvSpPr>
          <p:nvPr/>
        </p:nvSpPr>
        <p:spPr bwMode="auto">
          <a:xfrm>
            <a:off x="6146034" y="3599257"/>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1" u="none" strike="noStrike" kern="1200" cap="none" spc="0" normalizeH="0" baseline="0" noProof="0">
                <a:ln>
                  <a:noFill/>
                </a:ln>
                <a:solidFill>
                  <a:prstClr val="black"/>
                </a:solidFill>
                <a:effectLst/>
                <a:uLnTx/>
                <a:uFillTx/>
                <a:latin typeface="Calibri" panose="020F0502020204030204"/>
                <a:ea typeface="+mn-ea"/>
                <a:cs typeface="+mn-cs"/>
              </a:rPr>
              <a:t>Step 5</a:t>
            </a:r>
            <a:endParaRPr kumimoji="0" lang="en-US" alt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Text Box 34">
            <a:extLst>
              <a:ext uri="{FF2B5EF4-FFF2-40B4-BE49-F238E27FC236}">
                <a16:creationId xmlns:a16="http://schemas.microsoft.com/office/drawing/2014/main" id="{DA8F894F-2E93-444A-9025-C465F436EDF5}"/>
              </a:ext>
            </a:extLst>
          </p:cNvPr>
          <p:cNvSpPr txBox="1">
            <a:spLocks noChangeArrowheads="1"/>
          </p:cNvSpPr>
          <p:nvPr/>
        </p:nvSpPr>
        <p:spPr bwMode="auto">
          <a:xfrm>
            <a:off x="3109146" y="3645295"/>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1" u="none" strike="noStrike" kern="1200" cap="none" spc="0" normalizeH="0" baseline="0" noProof="0">
                <a:ln>
                  <a:noFill/>
                </a:ln>
                <a:solidFill>
                  <a:prstClr val="black"/>
                </a:solidFill>
                <a:effectLst/>
                <a:uLnTx/>
                <a:uFillTx/>
                <a:latin typeface="Calibri" panose="020F0502020204030204"/>
                <a:ea typeface="+mn-ea"/>
                <a:cs typeface="+mn-cs"/>
              </a:rPr>
              <a:t>Step 6</a:t>
            </a:r>
            <a:endParaRPr kumimoji="0" lang="en-US" alt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utoShape 37">
            <a:extLst>
              <a:ext uri="{FF2B5EF4-FFF2-40B4-BE49-F238E27FC236}">
                <a16:creationId xmlns:a16="http://schemas.microsoft.com/office/drawing/2014/main" id="{BE417462-21A6-43F0-8A2F-71A42C296018}"/>
              </a:ext>
            </a:extLst>
          </p:cNvPr>
          <p:cNvSpPr>
            <a:spLocks noChangeArrowheads="1"/>
          </p:cNvSpPr>
          <p:nvPr/>
        </p:nvSpPr>
        <p:spPr bwMode="auto">
          <a:xfrm>
            <a:off x="1389883" y="3309031"/>
            <a:ext cx="1073151" cy="2472185"/>
          </a:xfrm>
          <a:prstGeom prst="curvedRightArrow">
            <a:avLst>
              <a:gd name="adj1" fmla="val 19092"/>
              <a:gd name="adj2" fmla="val 85972"/>
              <a:gd name="adj3" fmla="val 33273"/>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 Box 38">
            <a:extLst>
              <a:ext uri="{FF2B5EF4-FFF2-40B4-BE49-F238E27FC236}">
                <a16:creationId xmlns:a16="http://schemas.microsoft.com/office/drawing/2014/main" id="{B5AF5A86-64F8-4751-BE04-C8C9580DE2FA}"/>
              </a:ext>
            </a:extLst>
          </p:cNvPr>
          <p:cNvSpPr txBox="1">
            <a:spLocks noChangeArrowheads="1"/>
          </p:cNvSpPr>
          <p:nvPr/>
        </p:nvSpPr>
        <p:spPr bwMode="auto">
          <a:xfrm>
            <a:off x="2734496" y="5189932"/>
            <a:ext cx="1690688" cy="3385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1" u="none" strike="noStrike" kern="1200" cap="none" spc="0" normalizeH="0" baseline="0" noProof="0">
                <a:ln>
                  <a:noFill/>
                </a:ln>
                <a:solidFill>
                  <a:srgbClr val="ED7D31"/>
                </a:solidFill>
                <a:effectLst/>
                <a:uLnTx/>
                <a:uFillTx/>
                <a:latin typeface="Calibri" panose="020F0502020204030204"/>
                <a:ea typeface="+mn-ea"/>
                <a:cs typeface="+mn-cs"/>
              </a:rPr>
              <a:t>Standardization</a:t>
            </a:r>
          </a:p>
        </p:txBody>
      </p:sp>
      <p:sp>
        <p:nvSpPr>
          <p:cNvPr id="33" name="AutoShape 39">
            <a:extLst>
              <a:ext uri="{FF2B5EF4-FFF2-40B4-BE49-F238E27FC236}">
                <a16:creationId xmlns:a16="http://schemas.microsoft.com/office/drawing/2014/main" id="{136BA4A8-FF10-4806-B5ED-FE731AFCFC46}"/>
              </a:ext>
            </a:extLst>
          </p:cNvPr>
          <p:cNvSpPr>
            <a:spLocks noChangeArrowheads="1"/>
          </p:cNvSpPr>
          <p:nvPr/>
        </p:nvSpPr>
        <p:spPr bwMode="auto">
          <a:xfrm>
            <a:off x="4533134" y="5122382"/>
            <a:ext cx="882650" cy="489109"/>
          </a:xfrm>
          <a:prstGeom prst="rightArrow">
            <a:avLst>
              <a:gd name="adj1" fmla="val 50000"/>
              <a:gd name="adj2" fmla="val 7853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Text Box 40">
            <a:extLst>
              <a:ext uri="{FF2B5EF4-FFF2-40B4-BE49-F238E27FC236}">
                <a16:creationId xmlns:a16="http://schemas.microsoft.com/office/drawing/2014/main" id="{77427516-FC4A-4A87-9C1C-AED4442C659D}"/>
              </a:ext>
            </a:extLst>
          </p:cNvPr>
          <p:cNvSpPr txBox="1">
            <a:spLocks noChangeArrowheads="1"/>
          </p:cNvSpPr>
          <p:nvPr/>
        </p:nvSpPr>
        <p:spPr bwMode="auto">
          <a:xfrm>
            <a:off x="5515796" y="5081223"/>
            <a:ext cx="1690688" cy="83099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1" u="none" strike="noStrike" kern="1200" cap="none" spc="0" normalizeH="0" baseline="0" noProof="0" dirty="0">
                <a:ln>
                  <a:noFill/>
                </a:ln>
                <a:solidFill>
                  <a:srgbClr val="ED7D31"/>
                </a:solidFill>
                <a:effectLst/>
                <a:uLnTx/>
                <a:uFillTx/>
                <a:latin typeface="Calibri" panose="020F0502020204030204"/>
                <a:ea typeface="+mn-ea"/>
                <a:cs typeface="+mn-cs"/>
              </a:rPr>
              <a:t>Getting Cluster Solution/Validation</a:t>
            </a:r>
          </a:p>
        </p:txBody>
      </p:sp>
      <p:sp>
        <p:nvSpPr>
          <p:cNvPr id="35" name="AutoShape 41">
            <a:extLst>
              <a:ext uri="{FF2B5EF4-FFF2-40B4-BE49-F238E27FC236}">
                <a16:creationId xmlns:a16="http://schemas.microsoft.com/office/drawing/2014/main" id="{67487053-86DB-4FAC-81C6-820F02693BF3}"/>
              </a:ext>
            </a:extLst>
          </p:cNvPr>
          <p:cNvSpPr>
            <a:spLocks noChangeArrowheads="1"/>
          </p:cNvSpPr>
          <p:nvPr/>
        </p:nvSpPr>
        <p:spPr bwMode="auto">
          <a:xfrm>
            <a:off x="7296971" y="5133495"/>
            <a:ext cx="882650" cy="489109"/>
          </a:xfrm>
          <a:prstGeom prst="rightArrow">
            <a:avLst>
              <a:gd name="adj1" fmla="val 50000"/>
              <a:gd name="adj2" fmla="val 7853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ext Box 42">
            <a:extLst>
              <a:ext uri="{FF2B5EF4-FFF2-40B4-BE49-F238E27FC236}">
                <a16:creationId xmlns:a16="http://schemas.microsoft.com/office/drawing/2014/main" id="{68F79690-D19A-4476-BA85-1021A22F3350}"/>
              </a:ext>
            </a:extLst>
          </p:cNvPr>
          <p:cNvSpPr txBox="1">
            <a:spLocks noChangeArrowheads="1"/>
          </p:cNvSpPr>
          <p:nvPr/>
        </p:nvSpPr>
        <p:spPr bwMode="auto">
          <a:xfrm>
            <a:off x="8244709" y="4950220"/>
            <a:ext cx="1690687" cy="83099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1" u="none" strike="noStrike" kern="1200" cap="none" spc="0" normalizeH="0" baseline="0" noProof="0" dirty="0">
                <a:ln>
                  <a:noFill/>
                </a:ln>
                <a:solidFill>
                  <a:srgbClr val="ED7D31"/>
                </a:solidFill>
                <a:effectLst/>
                <a:uLnTx/>
                <a:uFillTx/>
                <a:latin typeface="Calibri" panose="020F0502020204030204"/>
                <a:ea typeface="+mn-ea"/>
                <a:cs typeface="+mn-cs"/>
              </a:rPr>
              <a:t>Profile the clusters generated</a:t>
            </a:r>
          </a:p>
        </p:txBody>
      </p:sp>
      <p:sp>
        <p:nvSpPr>
          <p:cNvPr id="37" name="Text Box 43">
            <a:extLst>
              <a:ext uri="{FF2B5EF4-FFF2-40B4-BE49-F238E27FC236}">
                <a16:creationId xmlns:a16="http://schemas.microsoft.com/office/drawing/2014/main" id="{25C5159C-764D-49EF-8B89-D21BBB948A6B}"/>
              </a:ext>
            </a:extLst>
          </p:cNvPr>
          <p:cNvSpPr txBox="1">
            <a:spLocks noChangeArrowheads="1"/>
          </p:cNvSpPr>
          <p:nvPr/>
        </p:nvSpPr>
        <p:spPr bwMode="auto">
          <a:xfrm>
            <a:off x="8612242" y="5943031"/>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1" u="none" strike="noStrike" kern="1200" cap="none" spc="0" normalizeH="0" baseline="0" noProof="0" dirty="0">
                <a:ln>
                  <a:noFill/>
                </a:ln>
                <a:solidFill>
                  <a:prstClr val="black"/>
                </a:solidFill>
                <a:effectLst/>
                <a:uLnTx/>
                <a:uFillTx/>
                <a:latin typeface="Calibri" panose="020F0502020204030204"/>
                <a:ea typeface="+mn-ea"/>
                <a:cs typeface="+mn-cs"/>
              </a:rPr>
              <a:t>Step 9</a:t>
            </a:r>
            <a:endPar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Text Box 44">
            <a:extLst>
              <a:ext uri="{FF2B5EF4-FFF2-40B4-BE49-F238E27FC236}">
                <a16:creationId xmlns:a16="http://schemas.microsoft.com/office/drawing/2014/main" id="{AA8AEA06-16BD-4541-BCD8-B92941E00611}"/>
              </a:ext>
            </a:extLst>
          </p:cNvPr>
          <p:cNvSpPr txBox="1">
            <a:spLocks noChangeArrowheads="1"/>
          </p:cNvSpPr>
          <p:nvPr/>
        </p:nvSpPr>
        <p:spPr bwMode="auto">
          <a:xfrm>
            <a:off x="6016625" y="5979601"/>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1" u="none" strike="noStrike" kern="1200" cap="none" spc="0" normalizeH="0" baseline="0" noProof="0" dirty="0">
                <a:ln>
                  <a:noFill/>
                </a:ln>
                <a:solidFill>
                  <a:prstClr val="black"/>
                </a:solidFill>
                <a:effectLst/>
                <a:uLnTx/>
                <a:uFillTx/>
                <a:latin typeface="Calibri" panose="020F0502020204030204"/>
                <a:ea typeface="+mn-ea"/>
                <a:cs typeface="+mn-cs"/>
              </a:rPr>
              <a:t>Step 8</a:t>
            </a:r>
            <a:endPar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Text Box 45">
            <a:extLst>
              <a:ext uri="{FF2B5EF4-FFF2-40B4-BE49-F238E27FC236}">
                <a16:creationId xmlns:a16="http://schemas.microsoft.com/office/drawing/2014/main" id="{55264F96-0F36-46D2-B1F9-E6623B6283A2}"/>
              </a:ext>
            </a:extLst>
          </p:cNvPr>
          <p:cNvSpPr txBox="1">
            <a:spLocks noChangeArrowheads="1"/>
          </p:cNvSpPr>
          <p:nvPr/>
        </p:nvSpPr>
        <p:spPr bwMode="auto">
          <a:xfrm>
            <a:off x="3212334" y="5543945"/>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50000"/>
              </a:spcBef>
              <a:spcAft>
                <a:spcPct val="0"/>
              </a:spcAft>
              <a:defRPr sz="1600">
                <a:solidFill>
                  <a:schemeClr val="tx1"/>
                </a:solidFill>
                <a:latin typeface="Arial" charset="0"/>
              </a:defRPr>
            </a:lvl6pPr>
            <a:lvl7pPr marL="2971800" indent="-228600" algn="ctr" eaLnBrk="0" fontAlgn="base" hangingPunct="0">
              <a:spcBef>
                <a:spcPct val="50000"/>
              </a:spcBef>
              <a:spcAft>
                <a:spcPct val="0"/>
              </a:spcAft>
              <a:defRPr sz="1600">
                <a:solidFill>
                  <a:schemeClr val="tx1"/>
                </a:solidFill>
                <a:latin typeface="Arial" charset="0"/>
              </a:defRPr>
            </a:lvl7pPr>
            <a:lvl8pPr marL="3429000" indent="-228600" algn="ctr" eaLnBrk="0" fontAlgn="base" hangingPunct="0">
              <a:spcBef>
                <a:spcPct val="50000"/>
              </a:spcBef>
              <a:spcAft>
                <a:spcPct val="0"/>
              </a:spcAft>
              <a:defRPr sz="1600">
                <a:solidFill>
                  <a:schemeClr val="tx1"/>
                </a:solidFill>
                <a:latin typeface="Arial" charset="0"/>
              </a:defRPr>
            </a:lvl8pPr>
            <a:lvl9pPr marL="3886200" indent="-228600" algn="ctr" eaLnBrk="0" fontAlgn="base" hangingPunct="0">
              <a:spcBef>
                <a:spcPct val="5000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1" u="none" strike="noStrike" kern="1200" cap="none" spc="0" normalizeH="0" baseline="0" noProof="0">
                <a:ln>
                  <a:noFill/>
                </a:ln>
                <a:solidFill>
                  <a:prstClr val="black"/>
                </a:solidFill>
                <a:effectLst/>
                <a:uLnTx/>
                <a:uFillTx/>
                <a:latin typeface="Calibri" panose="020F0502020204030204"/>
                <a:ea typeface="+mn-ea"/>
                <a:cs typeface="+mn-cs"/>
              </a:rPr>
              <a:t>Step 7</a:t>
            </a:r>
            <a:endParaRPr kumimoji="0" lang="en-US" alt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157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D5417B-A031-472B-98E5-A3205D951DB0}"/>
              </a:ext>
            </a:extLst>
          </p:cNvPr>
          <p:cNvGraphicFramePr>
            <a:graphicFrameLocks noChangeAspect="1"/>
          </p:cNvGraphicFramePr>
          <p:nvPr>
            <p:custDataLst>
              <p:tags r:id="rId1"/>
            </p:custDataLst>
            <p:extLst>
              <p:ext uri="{D42A27DB-BD31-4B8C-83A1-F6EECF244321}">
                <p14:modId xmlns:p14="http://schemas.microsoft.com/office/powerpoint/2010/main" val="253449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0AD5417B-A031-472B-98E5-A3205D951D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88494800-514D-4B65-B6DD-AF40FBEE70D2}"/>
              </a:ext>
            </a:extLst>
          </p:cNvPr>
          <p:cNvSpPr>
            <a:spLocks noGrp="1"/>
          </p:cNvSpPr>
          <p:nvPr>
            <p:ph type="title"/>
          </p:nvPr>
        </p:nvSpPr>
        <p:spPr>
          <a:xfrm>
            <a:off x="171450" y="12810"/>
            <a:ext cx="11756847" cy="652017"/>
          </a:xfrm>
        </p:spPr>
        <p:txBody>
          <a:bodyPr vert="horz">
            <a:normAutofit/>
          </a:bodyPr>
          <a:lstStyle/>
          <a:p>
            <a:r>
              <a:rPr lang="en-US" sz="3300" b="1" kern="0" dirty="0">
                <a:solidFill>
                  <a:srgbClr val="000000"/>
                </a:solidFill>
                <a:latin typeface="+mn-lt"/>
              </a:rPr>
              <a:t>Clustering Algorithm in Action</a:t>
            </a:r>
          </a:p>
        </p:txBody>
      </p:sp>
      <p:sp>
        <p:nvSpPr>
          <p:cNvPr id="40" name="TextBox 39">
            <a:extLst>
              <a:ext uri="{FF2B5EF4-FFF2-40B4-BE49-F238E27FC236}">
                <a16:creationId xmlns:a16="http://schemas.microsoft.com/office/drawing/2014/main" id="{461A33E5-8ECD-47B4-BBAF-291F07E1AD52}"/>
              </a:ext>
            </a:extLst>
          </p:cNvPr>
          <p:cNvSpPr txBox="1"/>
          <p:nvPr/>
        </p:nvSpPr>
        <p:spPr>
          <a:xfrm>
            <a:off x="325257" y="694240"/>
            <a:ext cx="11756847" cy="307777"/>
          </a:xfrm>
          <a:prstGeom prst="rect">
            <a:avLst/>
          </a:prstGeom>
          <a:noFill/>
        </p:spPr>
        <p:txBody>
          <a:bodyPr wrap="square">
            <a:spAutoFit/>
          </a:bodyPr>
          <a:lstStyle/>
          <a:p>
            <a:r>
              <a:rPr lang="en-US" sz="1400" dirty="0"/>
              <a:t>Application of k-means is very common across industries – Retail, Finance, Banking, Fintech and Product Portfolio etc</a:t>
            </a:r>
          </a:p>
        </p:txBody>
      </p:sp>
      <p:sp>
        <p:nvSpPr>
          <p:cNvPr id="49" name="object 6">
            <a:extLst>
              <a:ext uri="{FF2B5EF4-FFF2-40B4-BE49-F238E27FC236}">
                <a16:creationId xmlns:a16="http://schemas.microsoft.com/office/drawing/2014/main" id="{2B4802BA-8279-4CA1-BB04-C0FFF4778686}"/>
              </a:ext>
            </a:extLst>
          </p:cNvPr>
          <p:cNvSpPr txBox="1">
            <a:spLocks noChangeArrowheads="1"/>
          </p:cNvSpPr>
          <p:nvPr/>
        </p:nvSpPr>
        <p:spPr bwMode="auto">
          <a:xfrm>
            <a:off x="347663" y="1309826"/>
            <a:ext cx="1971675" cy="690562"/>
          </a:xfrm>
          <a:prstGeom prst="rect">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solidFill>
                  <a:schemeClr val="lt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en-US" dirty="0">
                <a:latin typeface="+mn-lt"/>
              </a:rPr>
              <a:t>Document Classification</a:t>
            </a:r>
          </a:p>
        </p:txBody>
      </p:sp>
      <p:sp>
        <p:nvSpPr>
          <p:cNvPr id="50" name="object 7">
            <a:extLst>
              <a:ext uri="{FF2B5EF4-FFF2-40B4-BE49-F238E27FC236}">
                <a16:creationId xmlns:a16="http://schemas.microsoft.com/office/drawing/2014/main" id="{5AFA7E13-607E-457F-AB35-FCE4D30E3D9A}"/>
              </a:ext>
            </a:extLst>
          </p:cNvPr>
          <p:cNvSpPr>
            <a:spLocks/>
          </p:cNvSpPr>
          <p:nvPr/>
        </p:nvSpPr>
        <p:spPr bwMode="auto">
          <a:xfrm>
            <a:off x="347663" y="2000388"/>
            <a:ext cx="1971675" cy="3509963"/>
          </a:xfrm>
          <a:custGeom>
            <a:avLst/>
            <a:gdLst>
              <a:gd name="T0" fmla="*/ 0 w 1972310"/>
              <a:gd name="T1" fmla="*/ 3509140 h 3510279"/>
              <a:gd name="T2" fmla="*/ 1970785 w 1972310"/>
              <a:gd name="T3" fmla="*/ 3509140 h 3510279"/>
              <a:gd name="T4" fmla="*/ 1970785 w 1972310"/>
              <a:gd name="T5" fmla="*/ 0 h 3510279"/>
              <a:gd name="T6" fmla="*/ 0 w 1972310"/>
              <a:gd name="T7" fmla="*/ 0 h 3510279"/>
              <a:gd name="T8" fmla="*/ 0 w 1972310"/>
              <a:gd name="T9" fmla="*/ 3509140 h 35102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2310" h="3510279">
                <a:moveTo>
                  <a:pt x="0" y="3509772"/>
                </a:moveTo>
                <a:lnTo>
                  <a:pt x="1972055" y="3509772"/>
                </a:lnTo>
                <a:lnTo>
                  <a:pt x="1972055" y="0"/>
                </a:lnTo>
                <a:lnTo>
                  <a:pt x="0" y="0"/>
                </a:lnTo>
                <a:lnTo>
                  <a:pt x="0" y="3509772"/>
                </a:ln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2000"/>
              </a:lnSpc>
              <a:spcBef>
                <a:spcPts val="588"/>
              </a:spcBef>
            </a:pPr>
            <a:endParaRPr lang="en-US" sz="2000">
              <a:latin typeface="+mj-lt"/>
              <a:cs typeface="Arial" panose="020B0604020202020204" pitchFamily="34" charset="0"/>
            </a:endParaRPr>
          </a:p>
        </p:txBody>
      </p:sp>
      <p:sp>
        <p:nvSpPr>
          <p:cNvPr id="51" name="object 8">
            <a:extLst>
              <a:ext uri="{FF2B5EF4-FFF2-40B4-BE49-F238E27FC236}">
                <a16:creationId xmlns:a16="http://schemas.microsoft.com/office/drawing/2014/main" id="{B1BAB157-7E8F-4C2A-95F2-C082D260480C}"/>
              </a:ext>
            </a:extLst>
          </p:cNvPr>
          <p:cNvSpPr>
            <a:spLocks/>
          </p:cNvSpPr>
          <p:nvPr/>
        </p:nvSpPr>
        <p:spPr bwMode="auto">
          <a:xfrm>
            <a:off x="347663" y="2000388"/>
            <a:ext cx="1971675" cy="3509963"/>
          </a:xfrm>
          <a:custGeom>
            <a:avLst/>
            <a:gdLst>
              <a:gd name="T0" fmla="*/ 0 w 1972310"/>
              <a:gd name="T1" fmla="*/ 3509140 h 3510279"/>
              <a:gd name="T2" fmla="*/ 1970785 w 1972310"/>
              <a:gd name="T3" fmla="*/ 3509140 h 3510279"/>
              <a:gd name="T4" fmla="*/ 1970785 w 1972310"/>
              <a:gd name="T5" fmla="*/ 0 h 3510279"/>
              <a:gd name="T6" fmla="*/ 0 w 1972310"/>
              <a:gd name="T7" fmla="*/ 0 h 3510279"/>
              <a:gd name="T8" fmla="*/ 0 w 1972310"/>
              <a:gd name="T9" fmla="*/ 3509140 h 35102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2310" h="3510279">
                <a:moveTo>
                  <a:pt x="0" y="3509772"/>
                </a:moveTo>
                <a:lnTo>
                  <a:pt x="1972055" y="3509772"/>
                </a:lnTo>
                <a:lnTo>
                  <a:pt x="1972055" y="0"/>
                </a:lnTo>
                <a:lnTo>
                  <a:pt x="0" y="0"/>
                </a:lnTo>
                <a:lnTo>
                  <a:pt x="0" y="3509772"/>
                </a:lnTo>
                <a:close/>
              </a:path>
            </a:pathLst>
          </a:custGeom>
          <a:noFill/>
          <a:ln w="9144">
            <a:solidFill>
              <a:srgbClr val="D0D2E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2" name="object 9">
            <a:extLst>
              <a:ext uri="{FF2B5EF4-FFF2-40B4-BE49-F238E27FC236}">
                <a16:creationId xmlns:a16="http://schemas.microsoft.com/office/drawing/2014/main" id="{8714C162-05FD-4F07-AA42-6955F8B93E20}"/>
              </a:ext>
            </a:extLst>
          </p:cNvPr>
          <p:cNvSpPr txBox="1">
            <a:spLocks noChangeArrowheads="1"/>
          </p:cNvSpPr>
          <p:nvPr/>
        </p:nvSpPr>
        <p:spPr bwMode="auto">
          <a:xfrm>
            <a:off x="347663" y="2048013"/>
            <a:ext cx="1971675" cy="346233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solidFill>
                  <a:schemeClr val="lt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latin typeface="+mn-lt"/>
              </a:rPr>
              <a:t>Cluster documents in multiple categories based on tags, topics, and the content of the document</a:t>
            </a:r>
            <a:endParaRPr lang="en-US" altLang="en-US" dirty="0">
              <a:solidFill>
                <a:schemeClr val="tx1"/>
              </a:solidFill>
              <a:latin typeface="+mn-lt"/>
            </a:endParaRPr>
          </a:p>
        </p:txBody>
      </p:sp>
      <p:sp>
        <p:nvSpPr>
          <p:cNvPr id="53" name="object 15">
            <a:extLst>
              <a:ext uri="{FF2B5EF4-FFF2-40B4-BE49-F238E27FC236}">
                <a16:creationId xmlns:a16="http://schemas.microsoft.com/office/drawing/2014/main" id="{83140F56-5E25-4E5E-9BBF-12A94B70A90F}"/>
              </a:ext>
            </a:extLst>
          </p:cNvPr>
          <p:cNvSpPr txBox="1">
            <a:spLocks noChangeArrowheads="1"/>
          </p:cNvSpPr>
          <p:nvPr/>
        </p:nvSpPr>
        <p:spPr bwMode="auto">
          <a:xfrm>
            <a:off x="2595561" y="2009911"/>
            <a:ext cx="1971675" cy="3500438"/>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solidFill>
                  <a:schemeClr val="lt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en-US" dirty="0">
                <a:solidFill>
                  <a:schemeClr val="tx1"/>
                </a:solidFill>
                <a:latin typeface="+mn-lt"/>
              </a:rPr>
              <a:t>Cluster groups  of users based  on their access  patterns on  webpages</a:t>
            </a:r>
          </a:p>
          <a:p>
            <a:r>
              <a:rPr lang="en-US" altLang="en-US" dirty="0">
                <a:solidFill>
                  <a:schemeClr val="tx1"/>
                </a:solidFill>
                <a:latin typeface="+mn-lt"/>
              </a:rPr>
              <a:t>Cluster  webpages based on their content</a:t>
            </a:r>
          </a:p>
        </p:txBody>
      </p:sp>
      <p:sp>
        <p:nvSpPr>
          <p:cNvPr id="54" name="object 22">
            <a:extLst>
              <a:ext uri="{FF2B5EF4-FFF2-40B4-BE49-F238E27FC236}">
                <a16:creationId xmlns:a16="http://schemas.microsoft.com/office/drawing/2014/main" id="{A2D879CA-786A-4220-B53D-9C504C3330E7}"/>
              </a:ext>
            </a:extLst>
          </p:cNvPr>
          <p:cNvSpPr txBox="1">
            <a:spLocks noChangeArrowheads="1"/>
          </p:cNvSpPr>
          <p:nvPr/>
        </p:nvSpPr>
        <p:spPr bwMode="auto">
          <a:xfrm>
            <a:off x="4843463" y="2000388"/>
            <a:ext cx="1971675" cy="350996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solidFill>
                  <a:schemeClr val="lt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en-US" dirty="0">
                <a:solidFill>
                  <a:schemeClr val="tx1"/>
                </a:solidFill>
                <a:latin typeface="+mn-lt"/>
              </a:rPr>
              <a:t>customers are  segmented  based on  demographic  and transaction  history  information,  and a  marketing  strategy is  tailored for each segment</a:t>
            </a:r>
          </a:p>
        </p:txBody>
      </p:sp>
      <p:sp>
        <p:nvSpPr>
          <p:cNvPr id="55" name="object 29">
            <a:extLst>
              <a:ext uri="{FF2B5EF4-FFF2-40B4-BE49-F238E27FC236}">
                <a16:creationId xmlns:a16="http://schemas.microsoft.com/office/drawing/2014/main" id="{69D4BC61-DC9D-4685-9124-E409C1D0C8CD}"/>
              </a:ext>
            </a:extLst>
          </p:cNvPr>
          <p:cNvSpPr txBox="1">
            <a:spLocks noChangeArrowheads="1"/>
          </p:cNvSpPr>
          <p:nvPr/>
        </p:nvSpPr>
        <p:spPr bwMode="auto">
          <a:xfrm>
            <a:off x="7091363" y="2000386"/>
            <a:ext cx="1971675" cy="350996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solidFill>
                  <a:schemeClr val="lt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en-US" dirty="0">
                <a:solidFill>
                  <a:schemeClr val="tx1"/>
                </a:solidFill>
                <a:latin typeface="+mn-lt"/>
              </a:rPr>
              <a:t>identifying  groups of similar  products  according to  competitive  measures of  similarity</a:t>
            </a:r>
          </a:p>
        </p:txBody>
      </p:sp>
      <p:sp>
        <p:nvSpPr>
          <p:cNvPr id="56" name="object 35">
            <a:extLst>
              <a:ext uri="{FF2B5EF4-FFF2-40B4-BE49-F238E27FC236}">
                <a16:creationId xmlns:a16="http://schemas.microsoft.com/office/drawing/2014/main" id="{8C460A9B-EBF8-498A-904D-08741ABBDFF9}"/>
              </a:ext>
            </a:extLst>
          </p:cNvPr>
          <p:cNvSpPr txBox="1">
            <a:spLocks noChangeArrowheads="1"/>
          </p:cNvSpPr>
          <p:nvPr/>
        </p:nvSpPr>
        <p:spPr bwMode="auto">
          <a:xfrm>
            <a:off x="9339263" y="2000386"/>
            <a:ext cx="1971675" cy="350996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en-US" dirty="0">
                <a:solidFill>
                  <a:schemeClr val="tx1"/>
                </a:solidFill>
                <a:latin typeface="+mn-lt"/>
              </a:rPr>
              <a:t>Cluster analysis  can be used for  creating  balanced  portfolios</a:t>
            </a:r>
          </a:p>
        </p:txBody>
      </p:sp>
      <p:sp>
        <p:nvSpPr>
          <p:cNvPr id="57" name="object 6">
            <a:extLst>
              <a:ext uri="{FF2B5EF4-FFF2-40B4-BE49-F238E27FC236}">
                <a16:creationId xmlns:a16="http://schemas.microsoft.com/office/drawing/2014/main" id="{7FA02F8B-70E4-46BA-9B3E-C1B32A391294}"/>
              </a:ext>
            </a:extLst>
          </p:cNvPr>
          <p:cNvSpPr txBox="1">
            <a:spLocks noChangeArrowheads="1"/>
          </p:cNvSpPr>
          <p:nvPr/>
        </p:nvSpPr>
        <p:spPr bwMode="auto">
          <a:xfrm>
            <a:off x="2595562" y="1309826"/>
            <a:ext cx="1971675" cy="690562"/>
          </a:xfrm>
          <a:prstGeom prst="rect">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solidFill>
                  <a:schemeClr val="lt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en-US" dirty="0">
                <a:latin typeface="+mn-lt"/>
              </a:rPr>
              <a:t>Web</a:t>
            </a:r>
          </a:p>
        </p:txBody>
      </p:sp>
      <p:sp>
        <p:nvSpPr>
          <p:cNvPr id="58" name="object 6">
            <a:extLst>
              <a:ext uri="{FF2B5EF4-FFF2-40B4-BE49-F238E27FC236}">
                <a16:creationId xmlns:a16="http://schemas.microsoft.com/office/drawing/2014/main" id="{4496B46A-2283-48F0-BA30-7EB06639159B}"/>
              </a:ext>
            </a:extLst>
          </p:cNvPr>
          <p:cNvSpPr txBox="1">
            <a:spLocks noChangeArrowheads="1"/>
          </p:cNvSpPr>
          <p:nvPr/>
        </p:nvSpPr>
        <p:spPr bwMode="auto">
          <a:xfrm>
            <a:off x="4843463" y="1309826"/>
            <a:ext cx="1971675" cy="690562"/>
          </a:xfrm>
          <a:prstGeom prst="rect">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solidFill>
                  <a:schemeClr val="lt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en-US" dirty="0">
                <a:latin typeface="+mn-lt"/>
              </a:rPr>
              <a:t>Customer Segmentation</a:t>
            </a:r>
          </a:p>
        </p:txBody>
      </p:sp>
      <p:sp>
        <p:nvSpPr>
          <p:cNvPr id="59" name="object 6">
            <a:extLst>
              <a:ext uri="{FF2B5EF4-FFF2-40B4-BE49-F238E27FC236}">
                <a16:creationId xmlns:a16="http://schemas.microsoft.com/office/drawing/2014/main" id="{56FFC1E1-3815-4B15-BF53-4129BF2AE9AC}"/>
              </a:ext>
            </a:extLst>
          </p:cNvPr>
          <p:cNvSpPr txBox="1">
            <a:spLocks noChangeArrowheads="1"/>
          </p:cNvSpPr>
          <p:nvPr/>
        </p:nvSpPr>
        <p:spPr bwMode="auto">
          <a:xfrm>
            <a:off x="7091362" y="1309826"/>
            <a:ext cx="1971675" cy="690562"/>
          </a:xfrm>
          <a:prstGeom prst="rect">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solidFill>
                  <a:schemeClr val="lt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en-US" dirty="0">
                <a:latin typeface="+mn-lt"/>
              </a:rPr>
              <a:t>Market structure  analysis</a:t>
            </a:r>
          </a:p>
        </p:txBody>
      </p:sp>
      <p:sp>
        <p:nvSpPr>
          <p:cNvPr id="60" name="object 6">
            <a:extLst>
              <a:ext uri="{FF2B5EF4-FFF2-40B4-BE49-F238E27FC236}">
                <a16:creationId xmlns:a16="http://schemas.microsoft.com/office/drawing/2014/main" id="{EB9C07EF-F100-4EE3-A138-8E523AEF55F9}"/>
              </a:ext>
            </a:extLst>
          </p:cNvPr>
          <p:cNvSpPr txBox="1">
            <a:spLocks noChangeArrowheads="1"/>
          </p:cNvSpPr>
          <p:nvPr/>
        </p:nvSpPr>
        <p:spPr bwMode="auto">
          <a:xfrm>
            <a:off x="9339263" y="1309826"/>
            <a:ext cx="1971675" cy="690562"/>
          </a:xfrm>
          <a:prstGeom prst="rect">
            <a:avLst/>
          </a:prstGeom>
          <a:solidFill>
            <a:schemeClr val="tx1">
              <a:lumMod val="50000"/>
              <a:lumOff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92000"/>
              </a:lnSpc>
              <a:spcBef>
                <a:spcPts val="588"/>
              </a:spcBef>
              <a:defRPr sz="2000">
                <a:solidFill>
                  <a:schemeClr val="lt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en-US" dirty="0">
                <a:latin typeface="+mn-lt"/>
              </a:rPr>
              <a:t>Finance</a:t>
            </a:r>
          </a:p>
        </p:txBody>
      </p:sp>
    </p:spTree>
    <p:extLst>
      <p:ext uri="{BB962C8B-B14F-4D97-AF65-F5344CB8AC3E}">
        <p14:creationId xmlns:p14="http://schemas.microsoft.com/office/powerpoint/2010/main" val="435224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3E1A11-C8C4-4F72-9CCD-09494558D324}"/>
              </a:ext>
            </a:extLst>
          </p:cNvPr>
          <p:cNvGraphicFramePr>
            <a:graphicFrameLocks noChangeAspect="1"/>
          </p:cNvGraphicFramePr>
          <p:nvPr>
            <p:custDataLst>
              <p:tags r:id="rId1"/>
            </p:custDataLst>
            <p:extLst>
              <p:ext uri="{D42A27DB-BD31-4B8C-83A1-F6EECF244321}">
                <p14:modId xmlns:p14="http://schemas.microsoft.com/office/powerpoint/2010/main" val="1260672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A63E1A11-C8C4-4F72-9CCD-09494558D3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CFFF491F-A0C8-4E04-BA65-41359695FF0A}"/>
              </a:ext>
            </a:extLst>
          </p:cNvPr>
          <p:cNvSpPr>
            <a:spLocks noGrp="1"/>
          </p:cNvSpPr>
          <p:nvPr>
            <p:ph type="title"/>
          </p:nvPr>
        </p:nvSpPr>
        <p:spPr>
          <a:xfrm>
            <a:off x="242299" y="169916"/>
            <a:ext cx="11685998" cy="652017"/>
          </a:xfrm>
        </p:spPr>
        <p:txBody>
          <a:bodyPr vert="horz">
            <a:normAutofit/>
          </a:bodyPr>
          <a:lstStyle/>
          <a:p>
            <a:r>
              <a:rPr lang="en-US" sz="3300" b="1" kern="0" dirty="0">
                <a:solidFill>
                  <a:srgbClr val="000000"/>
                </a:solidFill>
                <a:latin typeface="+mn-lt"/>
              </a:rPr>
              <a:t>Challenges with k-means clustering</a:t>
            </a:r>
          </a:p>
        </p:txBody>
      </p:sp>
      <p:sp>
        <p:nvSpPr>
          <p:cNvPr id="5" name="TextBox 4">
            <a:extLst>
              <a:ext uri="{FF2B5EF4-FFF2-40B4-BE49-F238E27FC236}">
                <a16:creationId xmlns:a16="http://schemas.microsoft.com/office/drawing/2014/main" id="{EB00EC8B-D9ED-43A8-AFAF-B4E5092738AF}"/>
              </a:ext>
            </a:extLst>
          </p:cNvPr>
          <p:cNvSpPr txBox="1"/>
          <p:nvPr/>
        </p:nvSpPr>
        <p:spPr>
          <a:xfrm>
            <a:off x="242298" y="1107766"/>
            <a:ext cx="11392653" cy="1938992"/>
          </a:xfrm>
          <a:prstGeom prst="rect">
            <a:avLst/>
          </a:prstGeom>
          <a:noFill/>
        </p:spPr>
        <p:txBody>
          <a:bodyPr wrap="square">
            <a:spAutoFit/>
          </a:bodyPr>
          <a:lstStyle/>
          <a:p>
            <a:pPr algn="l"/>
            <a:r>
              <a:rPr lang="en-US" sz="2000" b="0" i="0" dirty="0">
                <a:solidFill>
                  <a:srgbClr val="292929"/>
                </a:solidFill>
                <a:effectLst/>
                <a:latin typeface="charter"/>
              </a:rPr>
              <a:t>There are two main challenges that need to handled wisely in order to get the most out of the k-means clustering algorithm:</a:t>
            </a:r>
          </a:p>
          <a:p>
            <a:pPr algn="l"/>
            <a:endParaRPr lang="en-US" sz="2000" b="0" i="0" dirty="0">
              <a:solidFill>
                <a:srgbClr val="292929"/>
              </a:solidFill>
              <a:effectLst/>
              <a:latin typeface="charter"/>
            </a:endParaRPr>
          </a:p>
          <a:p>
            <a:pPr marL="285750" indent="-285750" algn="l">
              <a:buFont typeface="Arial" panose="020B0604020202020204" pitchFamily="34" charset="0"/>
              <a:buChar char="•"/>
            </a:pPr>
            <a:r>
              <a:rPr lang="en-US" sz="2000" b="0" i="0" dirty="0">
                <a:solidFill>
                  <a:srgbClr val="292929"/>
                </a:solidFill>
                <a:effectLst/>
                <a:latin typeface="charter"/>
              </a:rPr>
              <a:t>Defining the number of clusters</a:t>
            </a:r>
          </a:p>
          <a:p>
            <a:pPr marL="285750" indent="-285750" algn="l">
              <a:buFont typeface="Arial" panose="020B0604020202020204" pitchFamily="34" charset="0"/>
              <a:buChar char="•"/>
            </a:pPr>
            <a:endParaRPr lang="en-US" sz="2000" b="0" i="0" dirty="0">
              <a:solidFill>
                <a:srgbClr val="292929"/>
              </a:solidFill>
              <a:effectLst/>
              <a:latin typeface="charter"/>
            </a:endParaRPr>
          </a:p>
          <a:p>
            <a:pPr marL="285750" indent="-285750" algn="l">
              <a:buFont typeface="Arial" panose="020B0604020202020204" pitchFamily="34" charset="0"/>
              <a:buChar char="•"/>
            </a:pPr>
            <a:r>
              <a:rPr lang="en-US" sz="2000" b="0" i="0" dirty="0">
                <a:solidFill>
                  <a:srgbClr val="292929"/>
                </a:solidFill>
                <a:effectLst/>
                <a:latin typeface="charter"/>
              </a:rPr>
              <a:t>Determining the initial centroids </a:t>
            </a:r>
          </a:p>
        </p:txBody>
      </p:sp>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5BEB4DB0-084D-4482-8CA8-0B265ACD716C}"/>
                  </a:ext>
                </a:extLst>
              </p14:cNvPr>
              <p14:cNvContentPartPr/>
              <p14:nvPr/>
            </p14:nvContentPartPr>
            <p14:xfrm>
              <a:off x="3165120" y="3719160"/>
              <a:ext cx="7306200" cy="1315440"/>
            </p14:xfrm>
          </p:contentPart>
        </mc:Choice>
        <mc:Fallback>
          <p:pic>
            <p:nvPicPr>
              <p:cNvPr id="2" name="Ink 1">
                <a:extLst>
                  <a:ext uri="{FF2B5EF4-FFF2-40B4-BE49-F238E27FC236}">
                    <a16:creationId xmlns:a16="http://schemas.microsoft.com/office/drawing/2014/main" id="{5BEB4DB0-084D-4482-8CA8-0B265ACD716C}"/>
                  </a:ext>
                </a:extLst>
              </p:cNvPr>
              <p:cNvPicPr/>
              <p:nvPr/>
            </p:nvPicPr>
            <p:blipFill>
              <a:blip r:embed="rId6"/>
              <a:stretch>
                <a:fillRect/>
              </a:stretch>
            </p:blipFill>
            <p:spPr>
              <a:xfrm>
                <a:off x="3155760" y="3709800"/>
                <a:ext cx="7324920" cy="1334160"/>
              </a:xfrm>
              <a:prstGeom prst="rect">
                <a:avLst/>
              </a:prstGeom>
            </p:spPr>
          </p:pic>
        </mc:Fallback>
      </mc:AlternateContent>
    </p:spTree>
    <p:extLst>
      <p:ext uri="{BB962C8B-B14F-4D97-AF65-F5344CB8AC3E}">
        <p14:creationId xmlns:p14="http://schemas.microsoft.com/office/powerpoint/2010/main" val="36286068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3E1A11-C8C4-4F72-9CCD-09494558D324}"/>
              </a:ext>
            </a:extLst>
          </p:cNvPr>
          <p:cNvGraphicFramePr>
            <a:graphicFrameLocks noChangeAspect="1"/>
          </p:cNvGraphicFramePr>
          <p:nvPr>
            <p:custDataLst>
              <p:tags r:id="rId1"/>
            </p:custDataLst>
            <p:extLst>
              <p:ext uri="{D42A27DB-BD31-4B8C-83A1-F6EECF244321}">
                <p14:modId xmlns:p14="http://schemas.microsoft.com/office/powerpoint/2010/main" val="422728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A63E1A11-C8C4-4F72-9CCD-09494558D3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D5C74B2D-7E87-4B70-91FD-F8B8E12E34F6}"/>
              </a:ext>
            </a:extLst>
          </p:cNvPr>
          <p:cNvSpPr txBox="1"/>
          <p:nvPr/>
        </p:nvSpPr>
        <p:spPr>
          <a:xfrm>
            <a:off x="932378" y="1590247"/>
            <a:ext cx="7605445" cy="4062651"/>
          </a:xfrm>
          <a:prstGeom prst="rect">
            <a:avLst/>
          </a:prstGeom>
          <a:noFill/>
        </p:spPr>
        <p:txBody>
          <a:bodyPr wrap="square">
            <a:spAutoFit/>
          </a:bodyPr>
          <a:lstStyle/>
          <a:p>
            <a:pPr marL="457200" marR="0" lvl="1" indent="0" algn="l" defTabSz="914400" rtl="0" eaLnBrk="1" fontAlgn="auto" latinLnBrk="0" hangingPunct="1">
              <a:lnSpc>
                <a:spcPct val="100000"/>
              </a:lnSpc>
              <a:spcBef>
                <a:spcPts val="0"/>
              </a:spcBef>
              <a:spcAft>
                <a:spcPts val="0"/>
              </a:spcAft>
              <a:buClr>
                <a:srgbClr val="3A6008"/>
              </a:buClr>
              <a:buSzTx/>
              <a:buFontTx/>
              <a:buNone/>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Apart from what we discussed as methods for Clustering there are lot of other types of clustering algorithms: To name a few -----</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Clara Algorithm</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PAM Algorithm</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Kernel Weighted K-Means</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Fuzzy K-Means</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Fuzzy K- Medoids</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K-Modes Clustering</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Clustering of Binary Variables</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Bagged Clustering</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Affinity Propagation Clustering</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Density-Based Cluster Analysis</a:t>
            </a:r>
          </a:p>
          <a:p>
            <a:pPr marL="742950" marR="0" lvl="1" indent="-285750" algn="l" defTabSz="914400" rtl="0" eaLnBrk="1" fontAlgn="auto" latinLnBrk="0" hangingPunct="1">
              <a:lnSpc>
                <a:spcPct val="100000"/>
              </a:lnSpc>
              <a:spcBef>
                <a:spcPts val="0"/>
              </a:spcBef>
              <a:spcAft>
                <a:spcPts val="0"/>
              </a:spcAft>
              <a:buClr>
                <a:srgbClr val="3A6008"/>
              </a:buClr>
              <a:buSzTx/>
              <a:buFont typeface="Arial" panose="020B0604020202020204" pitchFamily="34" charset="0"/>
              <a:buChar char="•"/>
              <a:tabLst/>
              <a:defRPr/>
            </a:pPr>
            <a:r>
              <a:rPr kumimoji="0" lang="en-US" alt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Rousseeuw</a:t>
            </a: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Kaufman’s Fuzzy Clustering Method</a:t>
            </a:r>
          </a:p>
        </p:txBody>
      </p:sp>
      <p:sp>
        <p:nvSpPr>
          <p:cNvPr id="8" name="Title 1">
            <a:extLst>
              <a:ext uri="{FF2B5EF4-FFF2-40B4-BE49-F238E27FC236}">
                <a16:creationId xmlns:a16="http://schemas.microsoft.com/office/drawing/2014/main" id="{CFFF491F-A0C8-4E04-BA65-41359695FF0A}"/>
              </a:ext>
            </a:extLst>
          </p:cNvPr>
          <p:cNvSpPr>
            <a:spLocks noGrp="1"/>
          </p:cNvSpPr>
          <p:nvPr>
            <p:ph type="title"/>
          </p:nvPr>
        </p:nvSpPr>
        <p:spPr>
          <a:xfrm>
            <a:off x="242299" y="169916"/>
            <a:ext cx="11685998" cy="652017"/>
          </a:xfrm>
        </p:spPr>
        <p:txBody>
          <a:bodyPr vert="horz">
            <a:normAutofit/>
          </a:bodyPr>
          <a:lstStyle/>
          <a:p>
            <a:r>
              <a:rPr lang="en-US" sz="3300" b="1" kern="0" dirty="0">
                <a:solidFill>
                  <a:srgbClr val="000000"/>
                </a:solidFill>
                <a:latin typeface="+mn-lt"/>
              </a:rPr>
              <a:t>Other Types of Clustering – enter the Bigger Universe</a:t>
            </a:r>
          </a:p>
        </p:txBody>
      </p:sp>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6A36A93D-9718-42C1-B6AF-3C5CDE75BBE8}"/>
                  </a:ext>
                </a:extLst>
              </p14:cNvPr>
              <p14:cNvContentPartPr/>
              <p14:nvPr/>
            </p14:nvContentPartPr>
            <p14:xfrm>
              <a:off x="5244840" y="3958920"/>
              <a:ext cx="4882680" cy="1347840"/>
            </p14:xfrm>
          </p:contentPart>
        </mc:Choice>
        <mc:Fallback>
          <p:pic>
            <p:nvPicPr>
              <p:cNvPr id="2" name="Ink 1">
                <a:extLst>
                  <a:ext uri="{FF2B5EF4-FFF2-40B4-BE49-F238E27FC236}">
                    <a16:creationId xmlns:a16="http://schemas.microsoft.com/office/drawing/2014/main" id="{6A36A93D-9718-42C1-B6AF-3C5CDE75BBE8}"/>
                  </a:ext>
                </a:extLst>
              </p:cNvPr>
              <p:cNvPicPr/>
              <p:nvPr/>
            </p:nvPicPr>
            <p:blipFill>
              <a:blip r:embed="rId6"/>
              <a:stretch>
                <a:fillRect/>
              </a:stretch>
            </p:blipFill>
            <p:spPr>
              <a:xfrm>
                <a:off x="5235480" y="3949560"/>
                <a:ext cx="4901400" cy="1366560"/>
              </a:xfrm>
              <a:prstGeom prst="rect">
                <a:avLst/>
              </a:prstGeom>
            </p:spPr>
          </p:pic>
        </mc:Fallback>
      </mc:AlternateContent>
    </p:spTree>
    <p:extLst>
      <p:ext uri="{BB962C8B-B14F-4D97-AF65-F5344CB8AC3E}">
        <p14:creationId xmlns:p14="http://schemas.microsoft.com/office/powerpoint/2010/main" val="3761000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3E1A11-C8C4-4F72-9CCD-09494558D324}"/>
              </a:ext>
            </a:extLst>
          </p:cNvPr>
          <p:cNvGraphicFramePr>
            <a:graphicFrameLocks noChangeAspect="1"/>
          </p:cNvGraphicFramePr>
          <p:nvPr>
            <p:custDataLst>
              <p:tags r:id="rId1"/>
            </p:custDataLst>
            <p:extLst>
              <p:ext uri="{D42A27DB-BD31-4B8C-83A1-F6EECF244321}">
                <p14:modId xmlns:p14="http://schemas.microsoft.com/office/powerpoint/2010/main" val="412753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A63E1A11-C8C4-4F72-9CCD-09494558D3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CFFF491F-A0C8-4E04-BA65-41359695FF0A}"/>
              </a:ext>
            </a:extLst>
          </p:cNvPr>
          <p:cNvSpPr>
            <a:spLocks noGrp="1"/>
          </p:cNvSpPr>
          <p:nvPr>
            <p:ph type="title"/>
          </p:nvPr>
        </p:nvSpPr>
        <p:spPr>
          <a:xfrm>
            <a:off x="1114655" y="3049749"/>
            <a:ext cx="9574363" cy="652017"/>
          </a:xfrm>
        </p:spPr>
        <p:txBody>
          <a:bodyPr vert="horz">
            <a:normAutofit/>
          </a:bodyPr>
          <a:lstStyle/>
          <a:p>
            <a:pPr algn="ctr"/>
            <a:r>
              <a:rPr lang="en-US" sz="3300" b="1" kern="0" dirty="0">
                <a:solidFill>
                  <a:srgbClr val="000000"/>
                </a:solidFill>
                <a:latin typeface="+mn-lt"/>
              </a:rPr>
              <a:t>Move to Python Notebooks</a:t>
            </a:r>
          </a:p>
        </p:txBody>
      </p:sp>
    </p:spTree>
    <p:extLst>
      <p:ext uri="{BB962C8B-B14F-4D97-AF65-F5344CB8AC3E}">
        <p14:creationId xmlns:p14="http://schemas.microsoft.com/office/powerpoint/2010/main" val="5151595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F9A21F-2315-43E1-8E89-198E09D84E47}"/>
              </a:ext>
            </a:extLst>
          </p:cNvPr>
          <p:cNvGraphicFramePr>
            <a:graphicFrameLocks noChangeAspect="1"/>
          </p:cNvGraphicFramePr>
          <p:nvPr>
            <p:custDataLst>
              <p:tags r:id="rId1"/>
            </p:custDataLst>
            <p:extLst>
              <p:ext uri="{D42A27DB-BD31-4B8C-83A1-F6EECF244321}">
                <p14:modId xmlns:p14="http://schemas.microsoft.com/office/powerpoint/2010/main" val="400357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71F9A21F-2315-43E1-8E89-198E09D84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EA06CFB7-547E-4721-9C34-FBCD25B94B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31841" y="1624253"/>
            <a:ext cx="7728318" cy="382404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sp>
        <p:nvSpPr>
          <p:cNvPr id="5" name="Title 1">
            <a:extLst>
              <a:ext uri="{FF2B5EF4-FFF2-40B4-BE49-F238E27FC236}">
                <a16:creationId xmlns:a16="http://schemas.microsoft.com/office/drawing/2014/main" id="{E9E9AC6A-1002-4B6D-95E3-C291E82F57A4}"/>
              </a:ext>
            </a:extLst>
          </p:cNvPr>
          <p:cNvSpPr>
            <a:spLocks noGrp="1"/>
          </p:cNvSpPr>
          <p:nvPr>
            <p:ph type="title"/>
          </p:nvPr>
        </p:nvSpPr>
        <p:spPr>
          <a:xfrm>
            <a:off x="242299" y="169916"/>
            <a:ext cx="11685998" cy="652017"/>
          </a:xfrm>
        </p:spPr>
        <p:txBody>
          <a:bodyPr vert="horz">
            <a:normAutofit/>
          </a:bodyPr>
          <a:lstStyle/>
          <a:p>
            <a:r>
              <a:rPr lang="en-US" sz="3300" b="1" kern="0" dirty="0">
                <a:solidFill>
                  <a:srgbClr val="000000"/>
                </a:solidFill>
                <a:latin typeface="+mn-lt"/>
              </a:rPr>
              <a:t>Cluster Solution</a:t>
            </a:r>
          </a:p>
        </p:txBody>
      </p:sp>
    </p:spTree>
    <p:extLst>
      <p:ext uri="{BB962C8B-B14F-4D97-AF65-F5344CB8AC3E}">
        <p14:creationId xmlns:p14="http://schemas.microsoft.com/office/powerpoint/2010/main" val="727025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079EB6-3521-4EBE-80A0-52C0F4FE1139}"/>
              </a:ext>
            </a:extLst>
          </p:cNvPr>
          <p:cNvGraphicFramePr>
            <a:graphicFrameLocks noChangeAspect="1"/>
          </p:cNvGraphicFramePr>
          <p:nvPr>
            <p:custDataLst>
              <p:tags r:id="rId1"/>
            </p:custDataLst>
            <p:extLst>
              <p:ext uri="{D42A27DB-BD31-4B8C-83A1-F6EECF244321}">
                <p14:modId xmlns:p14="http://schemas.microsoft.com/office/powerpoint/2010/main" val="4001747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2079EB6-3521-4EBE-80A0-52C0F4FE11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23824" y="79376"/>
            <a:ext cx="11896725" cy="615950"/>
          </a:xfrm>
        </p:spPr>
        <p:txBody>
          <a:bodyPr vert="horz">
            <a:normAutofit fontScale="90000"/>
          </a:bodyPr>
          <a:lstStyle/>
          <a:p>
            <a:pPr marL="0" marR="0" lvl="0" indent="0" algn="l" defTabSz="914400" rtl="0" eaLnBrk="1" fontAlgn="auto" latinLnBrk="0" hangingPunct="1">
              <a:lnSpc>
                <a:spcPct val="100000"/>
              </a:lnSpc>
              <a:spcBef>
                <a:spcPts val="0"/>
              </a:spcBef>
              <a:spcAft>
                <a:spcPts val="0"/>
              </a:spcAft>
              <a:buClr>
                <a:srgbClr val="000000"/>
              </a:buClr>
              <a:buSzPts val="3000"/>
              <a:buFont typeface="Raleway"/>
              <a:buNone/>
              <a:tabLst/>
              <a:defRPr/>
            </a:pPr>
            <a:r>
              <a:rPr kumimoji="0" lang="en-US" sz="4400" b="1" i="0" u="none" strike="noStrike" kern="0" cap="none" spc="0" normalizeH="0" baseline="0" noProof="0" dirty="0">
                <a:ln>
                  <a:noFill/>
                </a:ln>
                <a:solidFill>
                  <a:srgbClr val="000000"/>
                </a:solidFill>
                <a:effectLst/>
                <a:uLnTx/>
                <a:uFillTx/>
                <a:latin typeface="+mn-lt"/>
                <a:sym typeface="Raleway"/>
              </a:rPr>
              <a:t>Education &amp; Employment History</a:t>
            </a:r>
          </a:p>
        </p:txBody>
      </p:sp>
      <p:sp>
        <p:nvSpPr>
          <p:cNvPr id="7" name="TextBox 6">
            <a:extLst>
              <a:ext uri="{FF2B5EF4-FFF2-40B4-BE49-F238E27FC236}">
                <a16:creationId xmlns:a16="http://schemas.microsoft.com/office/drawing/2014/main" id="{146CE9CF-C344-42AA-93B1-EEA38DE31CA2}"/>
              </a:ext>
            </a:extLst>
          </p:cNvPr>
          <p:cNvSpPr txBox="1"/>
          <p:nvPr/>
        </p:nvSpPr>
        <p:spPr>
          <a:xfrm>
            <a:off x="295276" y="1527677"/>
            <a:ext cx="11896724" cy="833433"/>
          </a:xfrm>
          <a:prstGeom prst="rect">
            <a:avLst/>
          </a:prstGeom>
          <a:noFill/>
        </p:spPr>
        <p:txBody>
          <a:bodyPr wrap="square">
            <a:spAutoFit/>
          </a:bodyPr>
          <a:lstStyle/>
          <a:p>
            <a:pPr marL="514350" marR="0" lvl="0" indent="-514350" algn="l" defTabSz="914400" rtl="0" eaLnBrk="1" fontAlgn="auto" latinLnBrk="0" hangingPunct="1">
              <a:lnSpc>
                <a:spcPct val="200000"/>
              </a:lnSpc>
              <a:spcBef>
                <a:spcPts val="0"/>
              </a:spcBef>
              <a:spcAft>
                <a:spcPts val="0"/>
              </a:spcAft>
              <a:buClr>
                <a:srgbClr val="3A6008"/>
              </a:buClr>
              <a:buSzTx/>
              <a:buFont typeface="+mj-lt"/>
              <a:buAutoNum type="arabicPeriod"/>
              <a:tabLst/>
              <a:defRPr/>
            </a:pPr>
            <a:endParaRPr lang="en-US" altLang="en-US" sz="2800" dirty="0">
              <a:solidFill>
                <a:prstClr val="black"/>
              </a:solidFill>
              <a:latin typeface="Calibri" panose="020F0502020204030204"/>
            </a:endParaRPr>
          </a:p>
        </p:txBody>
      </p:sp>
      <p:cxnSp>
        <p:nvCxnSpPr>
          <p:cNvPr id="5" name="Google Shape;77;p16">
            <a:extLst>
              <a:ext uri="{FF2B5EF4-FFF2-40B4-BE49-F238E27FC236}">
                <a16:creationId xmlns:a16="http://schemas.microsoft.com/office/drawing/2014/main" id="{9FC09A03-5F7E-4A47-92B0-3A283363CCB8}"/>
              </a:ext>
            </a:extLst>
          </p:cNvPr>
          <p:cNvCxnSpPr>
            <a:cxnSpLocks/>
          </p:cNvCxnSpPr>
          <p:nvPr/>
        </p:nvCxnSpPr>
        <p:spPr>
          <a:xfrm>
            <a:off x="671440" y="3211002"/>
            <a:ext cx="9460532" cy="46729"/>
          </a:xfrm>
          <a:prstGeom prst="straightConnector1">
            <a:avLst/>
          </a:prstGeom>
          <a:noFill/>
          <a:ln w="19050" cap="flat" cmpd="sng">
            <a:solidFill>
              <a:srgbClr val="000099"/>
            </a:solidFill>
            <a:prstDash val="dot"/>
            <a:round/>
            <a:headEnd type="none" w="sm" len="sm"/>
            <a:tailEnd type="none" w="sm" len="sm"/>
          </a:ln>
          <a:effectLst>
            <a:outerShdw blurRad="50800" dist="38100" dir="2700000" algn="tl" rotWithShape="0">
              <a:prstClr val="black">
                <a:alpha val="40000"/>
              </a:prstClr>
            </a:outerShdw>
          </a:effectLst>
        </p:spPr>
      </p:cxnSp>
      <p:grpSp>
        <p:nvGrpSpPr>
          <p:cNvPr id="6" name="Google Shape;78;p16">
            <a:extLst>
              <a:ext uri="{FF2B5EF4-FFF2-40B4-BE49-F238E27FC236}">
                <a16:creationId xmlns:a16="http://schemas.microsoft.com/office/drawing/2014/main" id="{098A9452-E9CB-49A2-BA20-58DFB5775DB0}"/>
              </a:ext>
            </a:extLst>
          </p:cNvPr>
          <p:cNvGrpSpPr/>
          <p:nvPr/>
        </p:nvGrpSpPr>
        <p:grpSpPr>
          <a:xfrm>
            <a:off x="1261777" y="2002157"/>
            <a:ext cx="196200" cy="1306800"/>
            <a:chOff x="648675" y="1657471"/>
            <a:chExt cx="196200" cy="1306800"/>
          </a:xfrm>
          <a:solidFill>
            <a:srgbClr val="000099"/>
          </a:solidFill>
          <a:effectLst>
            <a:outerShdw blurRad="50800" dist="38100" dir="18900000" algn="bl" rotWithShape="0">
              <a:prstClr val="black">
                <a:alpha val="40000"/>
              </a:prstClr>
            </a:outerShdw>
          </a:effectLst>
        </p:grpSpPr>
        <p:sp>
          <p:nvSpPr>
            <p:cNvPr id="8" name="Google Shape;79;p16">
              <a:extLst>
                <a:ext uri="{FF2B5EF4-FFF2-40B4-BE49-F238E27FC236}">
                  <a16:creationId xmlns:a16="http://schemas.microsoft.com/office/drawing/2014/main" id="{FEDEB10D-A240-4302-8B96-EB26E38D7E94}"/>
                </a:ext>
              </a:extLst>
            </p:cNvPr>
            <p:cNvSpPr/>
            <p:nvPr/>
          </p:nvSpPr>
          <p:spPr>
            <a:xfrm>
              <a:off x="648675" y="2768371"/>
              <a:ext cx="196200" cy="195900"/>
            </a:xfrm>
            <a:prstGeom prst="ellipse">
              <a:avLst/>
            </a:prstGeom>
            <a:grpFill/>
            <a:ln>
              <a:solidFill>
                <a:schemeClr val="accent5">
                  <a:lumMod val="60000"/>
                  <a:lumOff val="40000"/>
                </a:schemeClr>
              </a:solidFill>
            </a:ln>
            <a:scene3d>
              <a:camera prst="orthographicFront"/>
              <a:lightRig rig="threePt" dir="t"/>
            </a:scene3d>
            <a:sp3d>
              <a:bevelT/>
            </a:sp3d>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ysClr val="windowText" lastClr="000000"/>
                </a:solidFill>
                <a:effectLst/>
                <a:uLnTx/>
                <a:uFillTx/>
              </a:endParaRPr>
            </a:p>
          </p:txBody>
        </p:sp>
        <p:cxnSp>
          <p:nvCxnSpPr>
            <p:cNvPr id="9" name="Google Shape;80;p16">
              <a:extLst>
                <a:ext uri="{FF2B5EF4-FFF2-40B4-BE49-F238E27FC236}">
                  <a16:creationId xmlns:a16="http://schemas.microsoft.com/office/drawing/2014/main" id="{6D347C6F-712E-49F6-9700-63C5A4A83A37}"/>
                </a:ext>
              </a:extLst>
            </p:cNvPr>
            <p:cNvCxnSpPr>
              <a:stCxn id="8" idx="0"/>
            </p:cNvCxnSpPr>
            <p:nvPr/>
          </p:nvCxnSpPr>
          <p:spPr>
            <a:xfrm rot="10800000">
              <a:off x="746775" y="1657471"/>
              <a:ext cx="0" cy="1110900"/>
            </a:xfrm>
            <a:prstGeom prst="straightConnector1">
              <a:avLst/>
            </a:prstGeom>
            <a:grpFill/>
            <a:ln w="19050" cap="flat" cmpd="sng">
              <a:solidFill>
                <a:schemeClr val="accent5">
                  <a:lumMod val="60000"/>
                  <a:lumOff val="40000"/>
                </a:schemeClr>
              </a:solidFill>
              <a:prstDash val="solid"/>
              <a:round/>
              <a:headEnd type="none" w="sm" len="sm"/>
              <a:tailEnd type="oval" w="med" len="med"/>
            </a:ln>
            <a:scene3d>
              <a:camera prst="orthographicFront"/>
              <a:lightRig rig="threePt" dir="t"/>
            </a:scene3d>
            <a:sp3d>
              <a:bevelT/>
            </a:sp3d>
          </p:spPr>
        </p:cxnSp>
      </p:grpSp>
      <p:sp>
        <p:nvSpPr>
          <p:cNvPr id="10" name="Google Shape;81;p16">
            <a:extLst>
              <a:ext uri="{FF2B5EF4-FFF2-40B4-BE49-F238E27FC236}">
                <a16:creationId xmlns:a16="http://schemas.microsoft.com/office/drawing/2014/main" id="{719234B9-994A-4A12-8A93-C907BCDEF529}"/>
              </a:ext>
            </a:extLst>
          </p:cNvPr>
          <p:cNvSpPr txBox="1">
            <a:spLocks/>
          </p:cNvSpPr>
          <p:nvPr/>
        </p:nvSpPr>
        <p:spPr>
          <a:xfrm>
            <a:off x="1494795" y="1632686"/>
            <a:ext cx="3118263" cy="12089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lt2"/>
              </a:buClr>
              <a:buSzPts val="1800"/>
              <a:buFont typeface="Source Sans Pro"/>
              <a:buChar char="●"/>
              <a:defRPr sz="1800" b="0" i="0" u="none" strike="noStrike" cap="none">
                <a:solidFill>
                  <a:schemeClr val="lt2"/>
                </a:solidFill>
                <a:latin typeface="Source Sans Pro"/>
                <a:ea typeface="Source Sans Pro"/>
                <a:cs typeface="Source Sans Pro"/>
                <a:sym typeface="Source Sans Pro"/>
              </a:defRPr>
            </a:lvl1pPr>
            <a:lvl2pPr marL="914400" marR="0" lvl="1"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2pPr>
            <a:lvl3pPr marL="1371600" marR="0" lvl="2"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3pPr>
            <a:lvl4pPr marL="1828800" marR="0" lvl="3"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4pPr>
            <a:lvl5pPr marL="2286000" marR="0" lvl="4"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5pPr>
            <a:lvl6pPr marL="2743200" marR="0" lvl="5"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6pPr>
            <a:lvl7pPr marL="3200400" marR="0" lvl="6"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7pPr>
            <a:lvl8pPr marL="3657600" marR="0" lvl="7"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8pPr>
            <a:lvl9pPr marL="4114800" marR="0" lvl="8" indent="-317500" algn="l" rtl="0">
              <a:lnSpc>
                <a:spcPct val="115000"/>
              </a:lnSpc>
              <a:spcBef>
                <a:spcPts val="1600"/>
              </a:spcBef>
              <a:spcAft>
                <a:spcPts val="160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9pPr>
          </a:lstStyle>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lang="en-GB" b="1" dirty="0">
                <a:solidFill>
                  <a:srgbClr val="000000"/>
                </a:solidFill>
                <a:latin typeface="+mn-lt"/>
              </a:rPr>
              <a:t>Assistant Manager (Finance &amp; Pricing Analytics)</a:t>
            </a:r>
          </a:p>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lang="en-GB" sz="1400" dirty="0">
                <a:solidFill>
                  <a:srgbClr val="7F7F7F"/>
                </a:solidFill>
                <a:latin typeface="+mn-lt"/>
              </a:rPr>
              <a:t>Genpact India, Gurugram</a:t>
            </a:r>
          </a:p>
          <a:p>
            <a:pPr marL="0" marR="0" lvl="0" indent="0" algn="l" defTabSz="914400" rtl="0" eaLnBrk="1" fontAlgn="auto" latinLnBrk="0" hangingPunct="1">
              <a:lnSpc>
                <a:spcPct val="115000"/>
              </a:lnSpc>
              <a:spcBef>
                <a:spcPts val="0"/>
              </a:spcBef>
              <a:spcAft>
                <a:spcPts val="1600"/>
              </a:spcAft>
              <a:buClr>
                <a:srgbClr val="7F7F7F"/>
              </a:buClr>
              <a:buSzPts val="1800"/>
              <a:buFont typeface="Source Sans Pro"/>
              <a:buNone/>
              <a:tabLst/>
              <a:defRPr/>
            </a:pPr>
            <a:r>
              <a:rPr lang="en-GB" sz="1400" dirty="0">
                <a:solidFill>
                  <a:srgbClr val="7F7F7F"/>
                </a:solidFill>
                <a:latin typeface="+mn-lt"/>
              </a:rPr>
              <a:t>Jul 2011 - Nov 2015</a:t>
            </a:r>
          </a:p>
          <a:p>
            <a:pPr marL="0" marR="0" lvl="0" indent="0" algn="l" defTabSz="914400" rtl="0" eaLnBrk="1" fontAlgn="auto" latinLnBrk="0" hangingPunct="1">
              <a:lnSpc>
                <a:spcPct val="115000"/>
              </a:lnSpc>
              <a:spcBef>
                <a:spcPts val="0"/>
              </a:spcBef>
              <a:spcAft>
                <a:spcPts val="1600"/>
              </a:spcAft>
              <a:buClr>
                <a:srgbClr val="7F7F7F"/>
              </a:buClr>
              <a:buSzPts val="1800"/>
              <a:buFont typeface="Source Sans Pro"/>
              <a:buNone/>
              <a:tabLst/>
              <a:defRPr/>
            </a:pPr>
            <a:endParaRPr kumimoji="0" lang="en-GB" sz="1600" b="0" i="0" u="none" strike="noStrike" kern="0" cap="none" spc="0" normalizeH="0" baseline="0" noProof="0" dirty="0">
              <a:ln>
                <a:noFill/>
              </a:ln>
              <a:solidFill>
                <a:srgbClr val="7F7F7F"/>
              </a:solidFill>
              <a:effectLst/>
              <a:uLnTx/>
              <a:uFillTx/>
              <a:latin typeface="Source Sans Pro"/>
              <a:ea typeface="Source Sans Pro"/>
              <a:sym typeface="Source Sans Pro"/>
            </a:endParaRPr>
          </a:p>
          <a:p>
            <a:pPr marL="0" marR="0" lvl="0" indent="0" algn="l" defTabSz="914400" rtl="0" eaLnBrk="1" fontAlgn="auto" latinLnBrk="0" hangingPunct="1">
              <a:lnSpc>
                <a:spcPct val="115000"/>
              </a:lnSpc>
              <a:spcBef>
                <a:spcPts val="0"/>
              </a:spcBef>
              <a:spcAft>
                <a:spcPts val="1600"/>
              </a:spcAft>
              <a:buClr>
                <a:srgbClr val="7F7F7F"/>
              </a:buClr>
              <a:buSzPts val="1800"/>
              <a:buFont typeface="Source Sans Pro"/>
              <a:buNone/>
              <a:tabLst/>
              <a:defRPr/>
            </a:pPr>
            <a:endParaRPr kumimoji="0" lang="en-GB" sz="1600" b="0" i="0" u="none" strike="noStrike" kern="0" cap="none" spc="0" normalizeH="0" baseline="0" noProof="0" dirty="0">
              <a:ln>
                <a:noFill/>
              </a:ln>
              <a:solidFill>
                <a:srgbClr val="7F7F7F"/>
              </a:solidFill>
              <a:effectLst/>
              <a:uLnTx/>
              <a:uFillTx/>
              <a:latin typeface="Source Sans Pro"/>
              <a:ea typeface="Source Sans Pro"/>
              <a:sym typeface="Source Sans Pro"/>
            </a:endParaRPr>
          </a:p>
        </p:txBody>
      </p:sp>
      <p:sp>
        <p:nvSpPr>
          <p:cNvPr id="11" name="Google Shape;85;p16">
            <a:extLst>
              <a:ext uri="{FF2B5EF4-FFF2-40B4-BE49-F238E27FC236}">
                <a16:creationId xmlns:a16="http://schemas.microsoft.com/office/drawing/2014/main" id="{E19F7B04-B952-418B-94CF-E7010F043EFD}"/>
              </a:ext>
            </a:extLst>
          </p:cNvPr>
          <p:cNvSpPr txBox="1">
            <a:spLocks/>
          </p:cNvSpPr>
          <p:nvPr/>
        </p:nvSpPr>
        <p:spPr>
          <a:xfrm>
            <a:off x="3142834" y="3759045"/>
            <a:ext cx="3238903" cy="132162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lt2"/>
              </a:buClr>
              <a:buSzPts val="1800"/>
              <a:buFont typeface="Source Sans Pro"/>
              <a:buChar char="●"/>
              <a:defRPr sz="1800" b="0" i="0" u="none" strike="noStrike" cap="none">
                <a:solidFill>
                  <a:schemeClr val="lt2"/>
                </a:solidFill>
                <a:latin typeface="Source Sans Pro"/>
                <a:ea typeface="Source Sans Pro"/>
                <a:cs typeface="Source Sans Pro"/>
                <a:sym typeface="Source Sans Pro"/>
              </a:defRPr>
            </a:lvl1pPr>
            <a:lvl2pPr marL="914400" marR="0" lvl="1"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2pPr>
            <a:lvl3pPr marL="1371600" marR="0" lvl="2"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3pPr>
            <a:lvl4pPr marL="1828800" marR="0" lvl="3"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4pPr>
            <a:lvl5pPr marL="2286000" marR="0" lvl="4"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5pPr>
            <a:lvl6pPr marL="2743200" marR="0" lvl="5"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6pPr>
            <a:lvl7pPr marL="3200400" marR="0" lvl="6"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7pPr>
            <a:lvl8pPr marL="3657600" marR="0" lvl="7"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8pPr>
            <a:lvl9pPr marL="4114800" marR="0" lvl="8" indent="-317500" algn="l" rtl="0">
              <a:lnSpc>
                <a:spcPct val="115000"/>
              </a:lnSpc>
              <a:spcBef>
                <a:spcPts val="1600"/>
              </a:spcBef>
              <a:spcAft>
                <a:spcPts val="160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9pPr>
          </a:lstStyle>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lang="en-GB" b="1" dirty="0">
                <a:solidFill>
                  <a:srgbClr val="000000"/>
                </a:solidFill>
                <a:latin typeface="+mn-lt"/>
              </a:rPr>
              <a:t>PGPBA</a:t>
            </a:r>
          </a:p>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lang="en-GB" sz="1400" dirty="0">
                <a:solidFill>
                  <a:srgbClr val="7F7F7F"/>
                </a:solidFill>
                <a:latin typeface="+mn-lt"/>
              </a:rPr>
              <a:t>Great Lakes Institute of Management, Gurgaon/Bangalore</a:t>
            </a:r>
          </a:p>
          <a:p>
            <a:pPr marL="0" marR="0" lvl="0" indent="0" algn="l" defTabSz="914400" rtl="0" eaLnBrk="1" fontAlgn="auto" latinLnBrk="0" hangingPunct="1">
              <a:lnSpc>
                <a:spcPct val="115000"/>
              </a:lnSpc>
              <a:spcBef>
                <a:spcPts val="0"/>
              </a:spcBef>
              <a:spcAft>
                <a:spcPts val="1600"/>
              </a:spcAft>
              <a:buClr>
                <a:srgbClr val="7F7F7F"/>
              </a:buClr>
              <a:buSzPts val="1800"/>
              <a:buFont typeface="Source Sans Pro"/>
              <a:buNone/>
              <a:tabLst/>
              <a:defRPr/>
            </a:pPr>
            <a:r>
              <a:rPr lang="en-GB" sz="1400" dirty="0">
                <a:solidFill>
                  <a:srgbClr val="7F7F7F"/>
                </a:solidFill>
                <a:latin typeface="+mn-lt"/>
              </a:rPr>
              <a:t>July 2015 - July 2016</a:t>
            </a:r>
          </a:p>
        </p:txBody>
      </p:sp>
      <p:sp>
        <p:nvSpPr>
          <p:cNvPr id="12" name="Google Shape;89;p16">
            <a:extLst>
              <a:ext uri="{FF2B5EF4-FFF2-40B4-BE49-F238E27FC236}">
                <a16:creationId xmlns:a16="http://schemas.microsoft.com/office/drawing/2014/main" id="{F177EACD-BB1E-42B3-BB0C-D8E76C73028F}"/>
              </a:ext>
            </a:extLst>
          </p:cNvPr>
          <p:cNvSpPr txBox="1">
            <a:spLocks/>
          </p:cNvSpPr>
          <p:nvPr/>
        </p:nvSpPr>
        <p:spPr>
          <a:xfrm>
            <a:off x="4838771" y="1632686"/>
            <a:ext cx="3175796" cy="12942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lt2"/>
              </a:buClr>
              <a:buSzPts val="1800"/>
              <a:buFont typeface="Source Sans Pro"/>
              <a:buChar char="●"/>
              <a:defRPr sz="1800" b="0" i="0" u="none" strike="noStrike" cap="none">
                <a:solidFill>
                  <a:schemeClr val="lt2"/>
                </a:solidFill>
                <a:latin typeface="Source Sans Pro"/>
                <a:ea typeface="Source Sans Pro"/>
                <a:cs typeface="Source Sans Pro"/>
                <a:sym typeface="Source Sans Pro"/>
              </a:defRPr>
            </a:lvl1pPr>
            <a:lvl2pPr marL="914400" marR="0" lvl="1"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2pPr>
            <a:lvl3pPr marL="1371600" marR="0" lvl="2"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3pPr>
            <a:lvl4pPr marL="1828800" marR="0" lvl="3"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4pPr>
            <a:lvl5pPr marL="2286000" marR="0" lvl="4"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5pPr>
            <a:lvl6pPr marL="2743200" marR="0" lvl="5"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6pPr>
            <a:lvl7pPr marL="3200400" marR="0" lvl="6"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7pPr>
            <a:lvl8pPr marL="3657600" marR="0" lvl="7"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8pPr>
            <a:lvl9pPr marL="4114800" marR="0" lvl="8" indent="-317500" algn="l" rtl="0">
              <a:lnSpc>
                <a:spcPct val="115000"/>
              </a:lnSpc>
              <a:spcBef>
                <a:spcPts val="1600"/>
              </a:spcBef>
              <a:spcAft>
                <a:spcPts val="160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9pPr>
          </a:lstStyle>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kumimoji="0" lang="en-GB" b="1" i="0" u="none" strike="noStrike" kern="0" cap="none" spc="0" normalizeH="0" baseline="0" noProof="0" dirty="0">
                <a:ln>
                  <a:noFill/>
                </a:ln>
                <a:solidFill>
                  <a:srgbClr val="000000"/>
                </a:solidFill>
                <a:effectLst/>
                <a:uLnTx/>
                <a:uFillTx/>
                <a:latin typeface="+mn-lt"/>
                <a:ea typeface="Source Sans Pro"/>
                <a:sym typeface="Source Sans Pro"/>
              </a:rPr>
              <a:t>Lead (Business Analytics &amp; Research)  </a:t>
            </a:r>
          </a:p>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kumimoji="0" lang="en-GB" sz="1400" b="0" i="0" u="none" strike="noStrike" kern="0" cap="none" spc="0" normalizeH="0" baseline="0" noProof="0" dirty="0">
                <a:ln>
                  <a:noFill/>
                </a:ln>
                <a:solidFill>
                  <a:srgbClr val="7F7F7F"/>
                </a:solidFill>
                <a:effectLst/>
                <a:uLnTx/>
                <a:uFillTx/>
                <a:latin typeface="+mn-lt"/>
                <a:ea typeface="Source Sans Pro"/>
                <a:sym typeface="Source Sans Pro"/>
              </a:rPr>
              <a:t>Fidelity Investments, Bengaluru</a:t>
            </a:r>
          </a:p>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kumimoji="0" lang="en-GB" sz="1400" b="0" i="0" u="none" strike="noStrike" kern="0" cap="none" spc="0" normalizeH="0" baseline="0" noProof="0" dirty="0">
                <a:ln>
                  <a:noFill/>
                </a:ln>
                <a:solidFill>
                  <a:srgbClr val="7F7F7F"/>
                </a:solidFill>
                <a:effectLst/>
                <a:uLnTx/>
                <a:uFillTx/>
                <a:latin typeface="+mn-lt"/>
                <a:ea typeface="Source Sans Pro"/>
                <a:sym typeface="Source Sans Pro"/>
              </a:rPr>
              <a:t>Nov 2015 - Jan 2019</a:t>
            </a:r>
          </a:p>
          <a:p>
            <a:pPr marL="0" marR="0" lvl="0" indent="0" algn="l" defTabSz="914400" rtl="0" eaLnBrk="1" fontAlgn="auto" latinLnBrk="0" hangingPunct="1">
              <a:lnSpc>
                <a:spcPct val="115000"/>
              </a:lnSpc>
              <a:spcBef>
                <a:spcPts val="1600"/>
              </a:spcBef>
              <a:spcAft>
                <a:spcPts val="1600"/>
              </a:spcAft>
              <a:buClr>
                <a:srgbClr val="7F7F7F"/>
              </a:buClr>
              <a:buSzPts val="1800"/>
              <a:buFont typeface="Source Sans Pro"/>
              <a:buNone/>
              <a:tabLst/>
              <a:defRPr/>
            </a:pPr>
            <a:endParaRPr kumimoji="0" lang="en-GB" sz="2000" b="0" i="0" u="none" strike="noStrike" kern="0" cap="none" spc="0" normalizeH="0" baseline="0" noProof="0" dirty="0">
              <a:ln>
                <a:noFill/>
              </a:ln>
              <a:solidFill>
                <a:srgbClr val="7F7F7F"/>
              </a:solidFill>
              <a:effectLst/>
              <a:uLnTx/>
              <a:uFillTx/>
              <a:latin typeface="Source Sans Pro"/>
              <a:ea typeface="Source Sans Pro"/>
              <a:sym typeface="Source Sans Pro"/>
            </a:endParaRPr>
          </a:p>
        </p:txBody>
      </p:sp>
      <p:sp>
        <p:nvSpPr>
          <p:cNvPr id="13" name="Google Shape;93;p16">
            <a:extLst>
              <a:ext uri="{FF2B5EF4-FFF2-40B4-BE49-F238E27FC236}">
                <a16:creationId xmlns:a16="http://schemas.microsoft.com/office/drawing/2014/main" id="{20570ED6-5B82-4D48-B90D-C0ED1DC043D7}"/>
              </a:ext>
            </a:extLst>
          </p:cNvPr>
          <p:cNvSpPr txBox="1">
            <a:spLocks/>
          </p:cNvSpPr>
          <p:nvPr/>
        </p:nvSpPr>
        <p:spPr>
          <a:xfrm>
            <a:off x="9387052" y="3918261"/>
            <a:ext cx="2918280" cy="132162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lt2"/>
              </a:buClr>
              <a:buSzPts val="1800"/>
              <a:buFont typeface="Source Sans Pro"/>
              <a:buChar char="●"/>
              <a:defRPr sz="1800" b="0" i="0" u="none" strike="noStrike" cap="none">
                <a:solidFill>
                  <a:schemeClr val="lt2"/>
                </a:solidFill>
                <a:latin typeface="Source Sans Pro"/>
                <a:ea typeface="Source Sans Pro"/>
                <a:cs typeface="Source Sans Pro"/>
                <a:sym typeface="Source Sans Pro"/>
              </a:defRPr>
            </a:lvl1pPr>
            <a:lvl2pPr marL="914400" marR="0" lvl="1"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2pPr>
            <a:lvl3pPr marL="1371600" marR="0" lvl="2"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3pPr>
            <a:lvl4pPr marL="1828800" marR="0" lvl="3"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4pPr>
            <a:lvl5pPr marL="2286000" marR="0" lvl="4"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5pPr>
            <a:lvl6pPr marL="2743200" marR="0" lvl="5"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6pPr>
            <a:lvl7pPr marL="3200400" marR="0" lvl="6"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7pPr>
            <a:lvl8pPr marL="3657600" marR="0" lvl="7"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8pPr>
            <a:lvl9pPr marL="4114800" marR="0" lvl="8" indent="-317500" algn="l" rtl="0">
              <a:lnSpc>
                <a:spcPct val="115000"/>
              </a:lnSpc>
              <a:spcBef>
                <a:spcPts val="1600"/>
              </a:spcBef>
              <a:spcAft>
                <a:spcPts val="160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9pPr>
          </a:lstStyle>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kumimoji="0" lang="en-GB" b="1" i="0" u="none" strike="noStrike" kern="0" cap="none" spc="0" normalizeH="0" baseline="0" noProof="0" dirty="0">
                <a:ln>
                  <a:noFill/>
                </a:ln>
                <a:solidFill>
                  <a:srgbClr val="000000"/>
                </a:solidFill>
                <a:effectLst/>
                <a:uLnTx/>
                <a:uFillTx/>
                <a:latin typeface="+mn-lt"/>
                <a:ea typeface="Source Sans Pro"/>
                <a:sym typeface="Source Sans Pro"/>
              </a:rPr>
              <a:t>Mentor</a:t>
            </a:r>
          </a:p>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kumimoji="0" lang="en-GB" b="1" i="0" u="none" strike="noStrike" kern="0" cap="none" spc="0" normalizeH="0" baseline="0" noProof="0" dirty="0">
                <a:ln>
                  <a:noFill/>
                </a:ln>
                <a:solidFill>
                  <a:srgbClr val="000000"/>
                </a:solidFill>
                <a:effectLst/>
                <a:uLnTx/>
                <a:uFillTx/>
                <a:latin typeface="+mn-lt"/>
                <a:ea typeface="Source Sans Pro"/>
                <a:sym typeface="Source Sans Pro"/>
              </a:rPr>
              <a:t>(Data Science and Business Analytics (DSBA))</a:t>
            </a:r>
          </a:p>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kumimoji="0" lang="en-GB" sz="1400" b="0" i="0" u="none" strike="noStrike" kern="0" cap="none" spc="0" normalizeH="0" baseline="0" noProof="0" dirty="0">
                <a:ln>
                  <a:noFill/>
                </a:ln>
                <a:solidFill>
                  <a:srgbClr val="7F7F7F"/>
                </a:solidFill>
                <a:effectLst/>
                <a:uLnTx/>
                <a:uFillTx/>
                <a:latin typeface="+mn-lt"/>
                <a:ea typeface="Source Sans Pro"/>
                <a:sym typeface="Source Sans Pro"/>
              </a:rPr>
              <a:t>GreatLearning, India</a:t>
            </a:r>
          </a:p>
          <a:p>
            <a:pPr marL="0" marR="0" lvl="0" indent="0" algn="l" defTabSz="914400" rtl="0" eaLnBrk="1" fontAlgn="auto" latinLnBrk="0" hangingPunct="1">
              <a:lnSpc>
                <a:spcPct val="115000"/>
              </a:lnSpc>
              <a:spcBef>
                <a:spcPts val="0"/>
              </a:spcBef>
              <a:spcAft>
                <a:spcPts val="1600"/>
              </a:spcAft>
              <a:buClr>
                <a:srgbClr val="7F7F7F"/>
              </a:buClr>
              <a:buSzPts val="1800"/>
              <a:buFont typeface="Source Sans Pro"/>
              <a:buNone/>
              <a:tabLst/>
              <a:defRPr/>
            </a:pPr>
            <a:r>
              <a:rPr kumimoji="0" lang="en-GB" sz="1400" b="0" i="0" u="none" strike="noStrike" kern="0" cap="none" spc="0" normalizeH="0" baseline="0" noProof="0" dirty="0">
                <a:ln>
                  <a:noFill/>
                </a:ln>
                <a:solidFill>
                  <a:srgbClr val="7F7F7F"/>
                </a:solidFill>
                <a:effectLst/>
                <a:uLnTx/>
                <a:uFillTx/>
                <a:latin typeface="+mn-lt"/>
                <a:ea typeface="Source Sans Pro"/>
                <a:sym typeface="Source Sans Pro"/>
              </a:rPr>
              <a:t>Sep’2020 - Present</a:t>
            </a:r>
          </a:p>
        </p:txBody>
      </p:sp>
      <p:grpSp>
        <p:nvGrpSpPr>
          <p:cNvPr id="14" name="Google Shape;78;p16">
            <a:extLst>
              <a:ext uri="{FF2B5EF4-FFF2-40B4-BE49-F238E27FC236}">
                <a16:creationId xmlns:a16="http://schemas.microsoft.com/office/drawing/2014/main" id="{05D9AB43-400F-4492-AB28-637AE9548625}"/>
              </a:ext>
            </a:extLst>
          </p:cNvPr>
          <p:cNvGrpSpPr/>
          <p:nvPr/>
        </p:nvGrpSpPr>
        <p:grpSpPr>
          <a:xfrm rot="10800000">
            <a:off x="2929763" y="3113057"/>
            <a:ext cx="196200" cy="1306800"/>
            <a:chOff x="648675" y="1657471"/>
            <a:chExt cx="196200" cy="1306800"/>
          </a:xfrm>
          <a:solidFill>
            <a:srgbClr val="000099"/>
          </a:solidFill>
          <a:effectLst>
            <a:outerShdw blurRad="50800" dist="38100" dir="18900000" algn="bl" rotWithShape="0">
              <a:prstClr val="black">
                <a:alpha val="40000"/>
              </a:prstClr>
            </a:outerShdw>
          </a:effectLst>
        </p:grpSpPr>
        <p:sp>
          <p:nvSpPr>
            <p:cNvPr id="15" name="Google Shape;79;p16">
              <a:extLst>
                <a:ext uri="{FF2B5EF4-FFF2-40B4-BE49-F238E27FC236}">
                  <a16:creationId xmlns:a16="http://schemas.microsoft.com/office/drawing/2014/main" id="{EA519DA0-64F9-4CA5-975D-B3D418BC0B8F}"/>
                </a:ext>
              </a:extLst>
            </p:cNvPr>
            <p:cNvSpPr/>
            <p:nvPr/>
          </p:nvSpPr>
          <p:spPr>
            <a:xfrm>
              <a:off x="648675" y="2768371"/>
              <a:ext cx="196200" cy="195900"/>
            </a:xfrm>
            <a:prstGeom prst="ellipse">
              <a:avLst/>
            </a:prstGeom>
            <a:grpFill/>
            <a:ln>
              <a:solidFill>
                <a:schemeClr val="accent5">
                  <a:lumMod val="60000"/>
                  <a:lumOff val="40000"/>
                </a:schemeClr>
              </a:solidFill>
            </a:ln>
            <a:scene3d>
              <a:camera prst="orthographicFront"/>
              <a:lightRig rig="threePt" dir="t"/>
            </a:scene3d>
            <a:sp3d>
              <a:bevelT/>
            </a:sp3d>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ysClr val="windowText" lastClr="000000"/>
                </a:solidFill>
                <a:effectLst/>
                <a:uLnTx/>
                <a:uFillTx/>
              </a:endParaRPr>
            </a:p>
          </p:txBody>
        </p:sp>
        <p:cxnSp>
          <p:nvCxnSpPr>
            <p:cNvPr id="16" name="Google Shape;80;p16">
              <a:extLst>
                <a:ext uri="{FF2B5EF4-FFF2-40B4-BE49-F238E27FC236}">
                  <a16:creationId xmlns:a16="http://schemas.microsoft.com/office/drawing/2014/main" id="{23E0891E-EE6F-4203-A449-5763F754BF80}"/>
                </a:ext>
              </a:extLst>
            </p:cNvPr>
            <p:cNvCxnSpPr>
              <a:stCxn id="15" idx="0"/>
            </p:cNvCxnSpPr>
            <p:nvPr/>
          </p:nvCxnSpPr>
          <p:spPr>
            <a:xfrm rot="10800000">
              <a:off x="746775" y="1657471"/>
              <a:ext cx="0" cy="1110900"/>
            </a:xfrm>
            <a:prstGeom prst="straightConnector1">
              <a:avLst/>
            </a:prstGeom>
            <a:grpFill/>
            <a:ln w="19050" cap="flat" cmpd="sng">
              <a:solidFill>
                <a:schemeClr val="accent5">
                  <a:lumMod val="60000"/>
                  <a:lumOff val="40000"/>
                </a:schemeClr>
              </a:solidFill>
              <a:prstDash val="solid"/>
              <a:round/>
              <a:headEnd type="none" w="sm" len="sm"/>
              <a:tailEnd type="oval" w="med" len="med"/>
            </a:ln>
            <a:scene3d>
              <a:camera prst="orthographicFront"/>
              <a:lightRig rig="threePt" dir="t"/>
            </a:scene3d>
            <a:sp3d>
              <a:bevelT/>
            </a:sp3d>
          </p:spPr>
        </p:cxnSp>
      </p:grpSp>
      <p:grpSp>
        <p:nvGrpSpPr>
          <p:cNvPr id="17" name="Google Shape;78;p16">
            <a:extLst>
              <a:ext uri="{FF2B5EF4-FFF2-40B4-BE49-F238E27FC236}">
                <a16:creationId xmlns:a16="http://schemas.microsoft.com/office/drawing/2014/main" id="{E1DAE3D4-9D39-492D-BA6D-5532D9D1A3E1}"/>
              </a:ext>
            </a:extLst>
          </p:cNvPr>
          <p:cNvGrpSpPr/>
          <p:nvPr/>
        </p:nvGrpSpPr>
        <p:grpSpPr>
          <a:xfrm rot="10800000">
            <a:off x="6300507" y="3119873"/>
            <a:ext cx="196200" cy="1306800"/>
            <a:chOff x="648675" y="1657471"/>
            <a:chExt cx="196200" cy="1306800"/>
          </a:xfrm>
          <a:solidFill>
            <a:srgbClr val="000099"/>
          </a:solidFill>
          <a:effectLst>
            <a:outerShdw blurRad="50800" dist="38100" dir="18900000" algn="bl" rotWithShape="0">
              <a:prstClr val="black">
                <a:alpha val="40000"/>
              </a:prstClr>
            </a:outerShdw>
          </a:effectLst>
        </p:grpSpPr>
        <p:sp>
          <p:nvSpPr>
            <p:cNvPr id="18" name="Google Shape;79;p16">
              <a:extLst>
                <a:ext uri="{FF2B5EF4-FFF2-40B4-BE49-F238E27FC236}">
                  <a16:creationId xmlns:a16="http://schemas.microsoft.com/office/drawing/2014/main" id="{8D32C0F5-65C2-44F0-A4D4-48902E2AB28F}"/>
                </a:ext>
              </a:extLst>
            </p:cNvPr>
            <p:cNvSpPr/>
            <p:nvPr/>
          </p:nvSpPr>
          <p:spPr>
            <a:xfrm>
              <a:off x="648675" y="2768371"/>
              <a:ext cx="196200" cy="195900"/>
            </a:xfrm>
            <a:prstGeom prst="ellipse">
              <a:avLst/>
            </a:prstGeom>
            <a:grpFill/>
            <a:ln>
              <a:solidFill>
                <a:schemeClr val="accent5">
                  <a:lumMod val="60000"/>
                  <a:lumOff val="40000"/>
                </a:schemeClr>
              </a:solidFill>
            </a:ln>
            <a:scene3d>
              <a:camera prst="orthographicFront"/>
              <a:lightRig rig="threePt" dir="t"/>
            </a:scene3d>
            <a:sp3d>
              <a:bevelT/>
            </a:sp3d>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ysClr val="windowText" lastClr="000000"/>
                </a:solidFill>
                <a:effectLst/>
                <a:uLnTx/>
                <a:uFillTx/>
              </a:endParaRPr>
            </a:p>
          </p:txBody>
        </p:sp>
        <p:cxnSp>
          <p:nvCxnSpPr>
            <p:cNvPr id="19" name="Google Shape;80;p16">
              <a:extLst>
                <a:ext uri="{FF2B5EF4-FFF2-40B4-BE49-F238E27FC236}">
                  <a16:creationId xmlns:a16="http://schemas.microsoft.com/office/drawing/2014/main" id="{F28D34A9-1CC5-4609-B5AA-F18869F3B50B}"/>
                </a:ext>
              </a:extLst>
            </p:cNvPr>
            <p:cNvCxnSpPr>
              <a:stCxn id="18" idx="0"/>
            </p:cNvCxnSpPr>
            <p:nvPr/>
          </p:nvCxnSpPr>
          <p:spPr>
            <a:xfrm rot="10800000">
              <a:off x="746775" y="1657471"/>
              <a:ext cx="0" cy="1110900"/>
            </a:xfrm>
            <a:prstGeom prst="straightConnector1">
              <a:avLst/>
            </a:prstGeom>
            <a:grpFill/>
            <a:ln w="19050" cap="flat" cmpd="sng">
              <a:solidFill>
                <a:schemeClr val="accent5">
                  <a:lumMod val="60000"/>
                  <a:lumOff val="40000"/>
                </a:schemeClr>
              </a:solidFill>
              <a:prstDash val="solid"/>
              <a:round/>
              <a:headEnd type="none" w="sm" len="sm"/>
              <a:tailEnd type="oval" w="med" len="med"/>
            </a:ln>
            <a:scene3d>
              <a:camera prst="orthographicFront"/>
              <a:lightRig rig="threePt" dir="t"/>
            </a:scene3d>
            <a:sp3d>
              <a:bevelT/>
            </a:sp3d>
          </p:spPr>
        </p:cxnSp>
      </p:grpSp>
      <p:grpSp>
        <p:nvGrpSpPr>
          <p:cNvPr id="20" name="Google Shape;78;p16">
            <a:extLst>
              <a:ext uri="{FF2B5EF4-FFF2-40B4-BE49-F238E27FC236}">
                <a16:creationId xmlns:a16="http://schemas.microsoft.com/office/drawing/2014/main" id="{013ABDD1-CFF0-476D-87CF-614227696F8D}"/>
              </a:ext>
            </a:extLst>
          </p:cNvPr>
          <p:cNvGrpSpPr/>
          <p:nvPr/>
        </p:nvGrpSpPr>
        <p:grpSpPr>
          <a:xfrm>
            <a:off x="4589122" y="2008973"/>
            <a:ext cx="196200" cy="1306800"/>
            <a:chOff x="648675" y="1657471"/>
            <a:chExt cx="196200" cy="1306800"/>
          </a:xfrm>
          <a:solidFill>
            <a:srgbClr val="000099"/>
          </a:solidFill>
          <a:effectLst>
            <a:outerShdw blurRad="50800" dist="38100" dir="18900000" algn="bl" rotWithShape="0">
              <a:prstClr val="black">
                <a:alpha val="40000"/>
              </a:prstClr>
            </a:outerShdw>
          </a:effectLst>
        </p:grpSpPr>
        <p:sp>
          <p:nvSpPr>
            <p:cNvPr id="21" name="Google Shape;79;p16">
              <a:extLst>
                <a:ext uri="{FF2B5EF4-FFF2-40B4-BE49-F238E27FC236}">
                  <a16:creationId xmlns:a16="http://schemas.microsoft.com/office/drawing/2014/main" id="{9E933C1B-9D0E-4E27-A3C5-683EB5FCF585}"/>
                </a:ext>
              </a:extLst>
            </p:cNvPr>
            <p:cNvSpPr/>
            <p:nvPr/>
          </p:nvSpPr>
          <p:spPr>
            <a:xfrm>
              <a:off x="648675" y="2768371"/>
              <a:ext cx="196200" cy="195900"/>
            </a:xfrm>
            <a:prstGeom prst="ellipse">
              <a:avLst/>
            </a:prstGeom>
            <a:grpFill/>
            <a:ln>
              <a:solidFill>
                <a:schemeClr val="accent5">
                  <a:lumMod val="60000"/>
                  <a:lumOff val="40000"/>
                </a:schemeClr>
              </a:solidFill>
            </a:ln>
            <a:scene3d>
              <a:camera prst="orthographicFront"/>
              <a:lightRig rig="threePt" dir="t"/>
            </a:scene3d>
            <a:sp3d>
              <a:bevelT/>
            </a:sp3d>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ysClr val="windowText" lastClr="000000"/>
                </a:solidFill>
                <a:effectLst/>
                <a:uLnTx/>
                <a:uFillTx/>
              </a:endParaRPr>
            </a:p>
          </p:txBody>
        </p:sp>
        <p:cxnSp>
          <p:nvCxnSpPr>
            <p:cNvPr id="22" name="Google Shape;80;p16">
              <a:extLst>
                <a:ext uri="{FF2B5EF4-FFF2-40B4-BE49-F238E27FC236}">
                  <a16:creationId xmlns:a16="http://schemas.microsoft.com/office/drawing/2014/main" id="{06B7051D-A3F8-43B1-836F-42DE0D77A55F}"/>
                </a:ext>
              </a:extLst>
            </p:cNvPr>
            <p:cNvCxnSpPr>
              <a:stCxn id="21" idx="0"/>
            </p:cNvCxnSpPr>
            <p:nvPr/>
          </p:nvCxnSpPr>
          <p:spPr>
            <a:xfrm rot="10800000">
              <a:off x="746775" y="1657471"/>
              <a:ext cx="0" cy="1110900"/>
            </a:xfrm>
            <a:prstGeom prst="straightConnector1">
              <a:avLst/>
            </a:prstGeom>
            <a:grpFill/>
            <a:ln w="19050" cap="flat" cmpd="sng">
              <a:solidFill>
                <a:schemeClr val="accent5">
                  <a:lumMod val="60000"/>
                  <a:lumOff val="40000"/>
                </a:schemeClr>
              </a:solidFill>
              <a:prstDash val="solid"/>
              <a:round/>
              <a:headEnd type="none" w="sm" len="sm"/>
              <a:tailEnd type="oval" w="med" len="med"/>
            </a:ln>
            <a:scene3d>
              <a:camera prst="orthographicFront"/>
              <a:lightRig rig="threePt" dir="t"/>
            </a:scene3d>
            <a:sp3d>
              <a:bevelT/>
            </a:sp3d>
          </p:spPr>
        </p:cxnSp>
      </p:grpSp>
      <p:sp>
        <p:nvSpPr>
          <p:cNvPr id="23" name="Google Shape;93;p16">
            <a:extLst>
              <a:ext uri="{FF2B5EF4-FFF2-40B4-BE49-F238E27FC236}">
                <a16:creationId xmlns:a16="http://schemas.microsoft.com/office/drawing/2014/main" id="{4C650384-0F3A-46B4-BE95-D085F2A1AEAE}"/>
              </a:ext>
            </a:extLst>
          </p:cNvPr>
          <p:cNvSpPr txBox="1">
            <a:spLocks/>
          </p:cNvSpPr>
          <p:nvPr/>
        </p:nvSpPr>
        <p:spPr>
          <a:xfrm>
            <a:off x="6649107" y="3911445"/>
            <a:ext cx="2918280" cy="132162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lt2"/>
              </a:buClr>
              <a:buSzPts val="1800"/>
              <a:buFont typeface="Source Sans Pro"/>
              <a:buChar char="●"/>
              <a:defRPr sz="1800" b="0" i="0" u="none" strike="noStrike" cap="none">
                <a:solidFill>
                  <a:schemeClr val="lt2"/>
                </a:solidFill>
                <a:latin typeface="Source Sans Pro"/>
                <a:ea typeface="Source Sans Pro"/>
                <a:cs typeface="Source Sans Pro"/>
                <a:sym typeface="Source Sans Pro"/>
              </a:defRPr>
            </a:lvl1pPr>
            <a:lvl2pPr marL="914400" marR="0" lvl="1"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2pPr>
            <a:lvl3pPr marL="1371600" marR="0" lvl="2"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3pPr>
            <a:lvl4pPr marL="1828800" marR="0" lvl="3"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4pPr>
            <a:lvl5pPr marL="2286000" marR="0" lvl="4"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5pPr>
            <a:lvl6pPr marL="2743200" marR="0" lvl="5"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6pPr>
            <a:lvl7pPr marL="3200400" marR="0" lvl="6"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7pPr>
            <a:lvl8pPr marL="3657600" marR="0" lvl="7" indent="-317500" algn="l" rtl="0">
              <a:lnSpc>
                <a:spcPct val="115000"/>
              </a:lnSpc>
              <a:spcBef>
                <a:spcPts val="1600"/>
              </a:spcBef>
              <a:spcAft>
                <a:spcPts val="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8pPr>
            <a:lvl9pPr marL="4114800" marR="0" lvl="8" indent="-317500" algn="l" rtl="0">
              <a:lnSpc>
                <a:spcPct val="115000"/>
              </a:lnSpc>
              <a:spcBef>
                <a:spcPts val="1600"/>
              </a:spcBef>
              <a:spcAft>
                <a:spcPts val="1600"/>
              </a:spcAft>
              <a:buClr>
                <a:schemeClr val="lt2"/>
              </a:buClr>
              <a:buSzPts val="1400"/>
              <a:buFont typeface="Source Sans Pro"/>
              <a:buChar char="■"/>
              <a:defRPr sz="1400" b="0" i="0" u="none" strike="noStrike" cap="none">
                <a:solidFill>
                  <a:schemeClr val="lt2"/>
                </a:solidFill>
                <a:latin typeface="Source Sans Pro"/>
                <a:ea typeface="Source Sans Pro"/>
                <a:cs typeface="Source Sans Pro"/>
                <a:sym typeface="Source Sans Pro"/>
              </a:defRPr>
            </a:lvl9pPr>
          </a:lstStyle>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kumimoji="0" lang="en-GB" b="1" i="0" u="none" strike="noStrike" kern="0" cap="none" spc="0" normalizeH="0" baseline="0" noProof="0" dirty="0">
                <a:ln>
                  <a:noFill/>
                </a:ln>
                <a:solidFill>
                  <a:srgbClr val="000000"/>
                </a:solidFill>
                <a:effectLst/>
                <a:uLnTx/>
                <a:uFillTx/>
                <a:latin typeface="+mn-lt"/>
                <a:ea typeface="Source Sans Pro"/>
                <a:sym typeface="Source Sans Pro"/>
              </a:rPr>
              <a:t>Lead Data Scientist (Advanced Analytics &amp; Decision Strategy)</a:t>
            </a:r>
          </a:p>
          <a:p>
            <a:pPr marL="0" marR="0" lvl="0" indent="0" algn="l" defTabSz="914400" rtl="0" eaLnBrk="1" fontAlgn="auto" latinLnBrk="0" hangingPunct="1">
              <a:lnSpc>
                <a:spcPct val="115000"/>
              </a:lnSpc>
              <a:spcBef>
                <a:spcPts val="0"/>
              </a:spcBef>
              <a:spcAft>
                <a:spcPts val="0"/>
              </a:spcAft>
              <a:buClr>
                <a:srgbClr val="7F7F7F"/>
              </a:buClr>
              <a:buSzPts val="1800"/>
              <a:buFont typeface="Source Sans Pro"/>
              <a:buNone/>
              <a:tabLst/>
              <a:defRPr/>
            </a:pPr>
            <a:r>
              <a:rPr kumimoji="0" lang="en-GB" sz="1400" b="0" i="0" u="none" strike="noStrike" kern="0" cap="none" spc="0" normalizeH="0" baseline="0" noProof="0" dirty="0">
                <a:ln>
                  <a:noFill/>
                </a:ln>
                <a:solidFill>
                  <a:srgbClr val="7F7F7F"/>
                </a:solidFill>
                <a:effectLst/>
                <a:uLnTx/>
                <a:uFillTx/>
                <a:latin typeface="+mn-lt"/>
                <a:ea typeface="Source Sans Pro"/>
                <a:sym typeface="Source Sans Pro"/>
              </a:rPr>
              <a:t>PayPal India, Chennai</a:t>
            </a:r>
          </a:p>
          <a:p>
            <a:pPr marL="0" marR="0" lvl="0" indent="0" algn="l" defTabSz="914400" rtl="0" eaLnBrk="1" fontAlgn="auto" latinLnBrk="0" hangingPunct="1">
              <a:lnSpc>
                <a:spcPct val="115000"/>
              </a:lnSpc>
              <a:spcBef>
                <a:spcPts val="0"/>
              </a:spcBef>
              <a:spcAft>
                <a:spcPts val="1600"/>
              </a:spcAft>
              <a:buClr>
                <a:srgbClr val="7F7F7F"/>
              </a:buClr>
              <a:buSzPts val="1800"/>
              <a:buFont typeface="Source Sans Pro"/>
              <a:buNone/>
              <a:tabLst/>
              <a:defRPr/>
            </a:pPr>
            <a:r>
              <a:rPr kumimoji="0" lang="en-GB" sz="1400" b="0" i="0" u="none" strike="noStrike" kern="0" cap="none" spc="0" normalizeH="0" baseline="0" noProof="0" dirty="0">
                <a:ln>
                  <a:noFill/>
                </a:ln>
                <a:solidFill>
                  <a:srgbClr val="7F7F7F"/>
                </a:solidFill>
                <a:effectLst/>
                <a:uLnTx/>
                <a:uFillTx/>
                <a:latin typeface="+mn-lt"/>
                <a:ea typeface="Source Sans Pro"/>
                <a:sym typeface="Source Sans Pro"/>
              </a:rPr>
              <a:t>Jan 2019 - Present</a:t>
            </a:r>
          </a:p>
        </p:txBody>
      </p:sp>
      <p:grpSp>
        <p:nvGrpSpPr>
          <p:cNvPr id="24" name="Google Shape;78;p16">
            <a:extLst>
              <a:ext uri="{FF2B5EF4-FFF2-40B4-BE49-F238E27FC236}">
                <a16:creationId xmlns:a16="http://schemas.microsoft.com/office/drawing/2014/main" id="{4906B12B-0C40-45DE-A7B8-1CE1697EBC50}"/>
              </a:ext>
            </a:extLst>
          </p:cNvPr>
          <p:cNvGrpSpPr/>
          <p:nvPr/>
        </p:nvGrpSpPr>
        <p:grpSpPr>
          <a:xfrm rot="10800000">
            <a:off x="9262238" y="3156198"/>
            <a:ext cx="196200" cy="1306800"/>
            <a:chOff x="648675" y="1657471"/>
            <a:chExt cx="196200" cy="1306800"/>
          </a:xfrm>
          <a:solidFill>
            <a:srgbClr val="000099"/>
          </a:solidFill>
          <a:effectLst>
            <a:outerShdw blurRad="50800" dist="38100" dir="18900000" algn="bl" rotWithShape="0">
              <a:prstClr val="black">
                <a:alpha val="40000"/>
              </a:prstClr>
            </a:outerShdw>
          </a:effectLst>
        </p:grpSpPr>
        <p:sp>
          <p:nvSpPr>
            <p:cNvPr id="25" name="Google Shape;79;p16">
              <a:extLst>
                <a:ext uri="{FF2B5EF4-FFF2-40B4-BE49-F238E27FC236}">
                  <a16:creationId xmlns:a16="http://schemas.microsoft.com/office/drawing/2014/main" id="{6E3D5507-5806-47C5-890D-8E4D7594F3F2}"/>
                </a:ext>
              </a:extLst>
            </p:cNvPr>
            <p:cNvSpPr/>
            <p:nvPr/>
          </p:nvSpPr>
          <p:spPr>
            <a:xfrm>
              <a:off x="648675" y="2768371"/>
              <a:ext cx="196200" cy="195900"/>
            </a:xfrm>
            <a:prstGeom prst="ellipse">
              <a:avLst/>
            </a:prstGeom>
            <a:grpFill/>
            <a:ln>
              <a:solidFill>
                <a:schemeClr val="accent5">
                  <a:lumMod val="60000"/>
                  <a:lumOff val="40000"/>
                </a:schemeClr>
              </a:solidFill>
            </a:ln>
            <a:scene3d>
              <a:camera prst="orthographicFront"/>
              <a:lightRig rig="threePt" dir="t"/>
            </a:scene3d>
            <a:sp3d>
              <a:bevelT/>
            </a:sp3d>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ysClr val="windowText" lastClr="000000"/>
                </a:solidFill>
                <a:effectLst/>
                <a:uLnTx/>
                <a:uFillTx/>
              </a:endParaRPr>
            </a:p>
          </p:txBody>
        </p:sp>
        <p:cxnSp>
          <p:nvCxnSpPr>
            <p:cNvPr id="26" name="Google Shape;80;p16">
              <a:extLst>
                <a:ext uri="{FF2B5EF4-FFF2-40B4-BE49-F238E27FC236}">
                  <a16:creationId xmlns:a16="http://schemas.microsoft.com/office/drawing/2014/main" id="{3ADF5F67-E491-49E9-BA5B-E65906C2534E}"/>
                </a:ext>
              </a:extLst>
            </p:cNvPr>
            <p:cNvCxnSpPr>
              <a:stCxn id="25" idx="0"/>
            </p:cNvCxnSpPr>
            <p:nvPr/>
          </p:nvCxnSpPr>
          <p:spPr>
            <a:xfrm rot="10800000">
              <a:off x="746775" y="1657471"/>
              <a:ext cx="0" cy="1110900"/>
            </a:xfrm>
            <a:prstGeom prst="straightConnector1">
              <a:avLst/>
            </a:prstGeom>
            <a:grpFill/>
            <a:ln w="19050" cap="flat" cmpd="sng">
              <a:solidFill>
                <a:schemeClr val="accent5">
                  <a:lumMod val="60000"/>
                  <a:lumOff val="40000"/>
                </a:schemeClr>
              </a:solidFill>
              <a:prstDash val="solid"/>
              <a:round/>
              <a:headEnd type="none" w="sm" len="sm"/>
              <a:tailEnd type="oval" w="med" len="med"/>
            </a:ln>
            <a:scene3d>
              <a:camera prst="orthographicFront"/>
              <a:lightRig rig="threePt" dir="t"/>
            </a:scene3d>
            <a:sp3d>
              <a:bevelT/>
            </a:sp3d>
          </p:spPr>
        </p:cxnSp>
      </p:grpSp>
    </p:spTree>
    <p:extLst>
      <p:ext uri="{BB962C8B-B14F-4D97-AF65-F5344CB8AC3E}">
        <p14:creationId xmlns:p14="http://schemas.microsoft.com/office/powerpoint/2010/main" val="1712930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079EB6-3521-4EBE-80A0-52C0F4FE1139}"/>
              </a:ext>
            </a:extLst>
          </p:cNvPr>
          <p:cNvGraphicFramePr>
            <a:graphicFrameLocks noChangeAspect="1"/>
          </p:cNvGraphicFramePr>
          <p:nvPr>
            <p:custDataLst>
              <p:tags r:id="rId1"/>
            </p:custDataLst>
            <p:extLst>
              <p:ext uri="{D42A27DB-BD31-4B8C-83A1-F6EECF244321}">
                <p14:modId xmlns:p14="http://schemas.microsoft.com/office/powerpoint/2010/main" val="394085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2079EB6-3521-4EBE-80A0-52C0F4FE11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23824" y="79376"/>
            <a:ext cx="11896725" cy="615950"/>
          </a:xfrm>
        </p:spPr>
        <p:txBody>
          <a:bodyPr vert="horz">
            <a:normAutofit fontScale="90000"/>
          </a:bodyPr>
          <a:lstStyle/>
          <a:p>
            <a:pPr>
              <a:lnSpc>
                <a:spcPct val="100000"/>
              </a:lnSpc>
              <a:spcBef>
                <a:spcPts val="0"/>
              </a:spcBef>
              <a:buClr>
                <a:srgbClr val="000000"/>
              </a:buClr>
              <a:buSzPts val="3000"/>
              <a:defRPr/>
            </a:pPr>
            <a:r>
              <a:rPr lang="en-US" sz="4000" b="1" kern="0" dirty="0">
                <a:solidFill>
                  <a:srgbClr val="000000"/>
                </a:solidFill>
                <a:latin typeface="+mn-lt"/>
              </a:rPr>
              <a:t>Agenda/Objective of the session</a:t>
            </a:r>
          </a:p>
        </p:txBody>
      </p:sp>
      <p:sp>
        <p:nvSpPr>
          <p:cNvPr id="7" name="TextBox 6">
            <a:extLst>
              <a:ext uri="{FF2B5EF4-FFF2-40B4-BE49-F238E27FC236}">
                <a16:creationId xmlns:a16="http://schemas.microsoft.com/office/drawing/2014/main" id="{146CE9CF-C344-42AA-93B1-EEA38DE31CA2}"/>
              </a:ext>
            </a:extLst>
          </p:cNvPr>
          <p:cNvSpPr txBox="1"/>
          <p:nvPr/>
        </p:nvSpPr>
        <p:spPr>
          <a:xfrm>
            <a:off x="295276" y="1527677"/>
            <a:ext cx="11896724" cy="3418756"/>
          </a:xfrm>
          <a:prstGeom prst="rect">
            <a:avLst/>
          </a:prstGeom>
          <a:noFill/>
        </p:spPr>
        <p:txBody>
          <a:bodyPr wrap="square">
            <a:spAutoFit/>
          </a:bodyPr>
          <a:lstStyle/>
          <a:p>
            <a:pPr marL="514350" marR="0" lvl="0" indent="-514350" algn="l" defTabSz="914400" rtl="0" eaLnBrk="1" fontAlgn="auto" latinLnBrk="0" hangingPunct="1">
              <a:lnSpc>
                <a:spcPct val="200000"/>
              </a:lnSpc>
              <a:spcBef>
                <a:spcPts val="0"/>
              </a:spcBef>
              <a:spcAft>
                <a:spcPts val="0"/>
              </a:spcAft>
              <a:buClr>
                <a:srgbClr val="3A6008"/>
              </a:buClr>
              <a:buSzTx/>
              <a:buFont typeface="+mj-lt"/>
              <a:buAutoNum type="arabicPeriod"/>
              <a:tabLst/>
              <a:defRPr/>
            </a:pPr>
            <a:r>
              <a:rPr lang="en-US" altLang="en-US" sz="2800" dirty="0">
                <a:solidFill>
                  <a:prstClr val="black"/>
                </a:solidFill>
                <a:latin typeface="Calibri" panose="020F0502020204030204"/>
              </a:rPr>
              <a:t>Unsupervised Learning –  Intuition behind K-means Clustering (15 mins)</a:t>
            </a:r>
          </a:p>
          <a:p>
            <a:pPr marL="514350" marR="0" lvl="0" indent="-514350" algn="l" defTabSz="914400" rtl="0" eaLnBrk="1" fontAlgn="auto" latinLnBrk="0" hangingPunct="1">
              <a:lnSpc>
                <a:spcPct val="200000"/>
              </a:lnSpc>
              <a:spcBef>
                <a:spcPts val="0"/>
              </a:spcBef>
              <a:spcAft>
                <a:spcPts val="0"/>
              </a:spcAft>
              <a:buClr>
                <a:srgbClr val="3A6008"/>
              </a:buClr>
              <a:buSzTx/>
              <a:buFont typeface="+mj-lt"/>
              <a:buAutoNum type="arabicPeriod"/>
              <a:tabLst/>
              <a:defRPr/>
            </a:pPr>
            <a:r>
              <a:rPr lang="en-US" altLang="en-US" sz="2800" dirty="0">
                <a:solidFill>
                  <a:prstClr val="black"/>
                </a:solidFill>
                <a:latin typeface="Calibri" panose="020F0502020204030204"/>
              </a:rPr>
              <a:t>College Applications data profiling using k-means clustering – A case study approach (20 mins)</a:t>
            </a:r>
          </a:p>
          <a:p>
            <a:pPr marL="514350" marR="0" lvl="0" indent="-514350" algn="l" defTabSz="914400" rtl="0" eaLnBrk="1" fontAlgn="auto" latinLnBrk="0" hangingPunct="1">
              <a:lnSpc>
                <a:spcPct val="200000"/>
              </a:lnSpc>
              <a:spcBef>
                <a:spcPts val="0"/>
              </a:spcBef>
              <a:spcAft>
                <a:spcPts val="0"/>
              </a:spcAft>
              <a:buClr>
                <a:srgbClr val="3A6008"/>
              </a:buClr>
              <a:buSzTx/>
              <a:buFont typeface="+mj-lt"/>
              <a:buAutoNum type="arabicPeriod"/>
              <a:tabLst/>
              <a:defRPr/>
            </a:pPr>
            <a:r>
              <a:rPr lang="en-US" altLang="en-US" sz="2800" dirty="0">
                <a:solidFill>
                  <a:prstClr val="black"/>
                </a:solidFill>
                <a:latin typeface="Calibri" panose="020F0502020204030204"/>
              </a:rPr>
              <a:t>Questions and Answers session (10 mins)</a:t>
            </a:r>
          </a:p>
        </p:txBody>
      </p:sp>
    </p:spTree>
    <p:extLst>
      <p:ext uri="{BB962C8B-B14F-4D97-AF65-F5344CB8AC3E}">
        <p14:creationId xmlns:p14="http://schemas.microsoft.com/office/powerpoint/2010/main" val="2767017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DF1F56-9953-46EE-A5A6-728FF5037336}"/>
              </a:ext>
            </a:extLst>
          </p:cNvPr>
          <p:cNvGraphicFramePr>
            <a:graphicFrameLocks noChangeAspect="1"/>
          </p:cNvGraphicFramePr>
          <p:nvPr>
            <p:custDataLst>
              <p:tags r:id="rId1"/>
            </p:custDataLst>
            <p:extLst>
              <p:ext uri="{D42A27DB-BD31-4B8C-83A1-F6EECF244321}">
                <p14:modId xmlns:p14="http://schemas.microsoft.com/office/powerpoint/2010/main" val="1636853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91DF1F56-9953-46EE-A5A6-728FF50373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23824" y="79376"/>
            <a:ext cx="11896725" cy="615950"/>
          </a:xfrm>
        </p:spPr>
        <p:txBody>
          <a:bodyPr vert="horz">
            <a:noAutofit/>
          </a:bodyPr>
          <a:lstStyle/>
          <a:p>
            <a:pPr>
              <a:lnSpc>
                <a:spcPct val="100000"/>
              </a:lnSpc>
              <a:spcBef>
                <a:spcPts val="0"/>
              </a:spcBef>
              <a:buClr>
                <a:srgbClr val="000000"/>
              </a:buClr>
              <a:buSzPts val="3000"/>
              <a:defRPr/>
            </a:pPr>
            <a:r>
              <a:rPr lang="en-US" sz="4000" b="1" kern="0" dirty="0">
                <a:solidFill>
                  <a:srgbClr val="000000"/>
                </a:solidFill>
                <a:latin typeface="+mn-lt"/>
              </a:rPr>
              <a:t>What is Unsupervised learning?</a:t>
            </a:r>
          </a:p>
        </p:txBody>
      </p:sp>
      <p:sp>
        <p:nvSpPr>
          <p:cNvPr id="4" name="Rectangle: Rounded Corners 3">
            <a:extLst>
              <a:ext uri="{FF2B5EF4-FFF2-40B4-BE49-F238E27FC236}">
                <a16:creationId xmlns:a16="http://schemas.microsoft.com/office/drawing/2014/main" id="{F3807A01-B17C-42BF-AA7E-CF5C43C3B75F}"/>
              </a:ext>
            </a:extLst>
          </p:cNvPr>
          <p:cNvSpPr/>
          <p:nvPr/>
        </p:nvSpPr>
        <p:spPr>
          <a:xfrm>
            <a:off x="323850" y="2359163"/>
            <a:ext cx="3114675" cy="1069837"/>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2000"/>
              </a:lnSpc>
              <a:spcBef>
                <a:spcPts val="588"/>
              </a:spcBef>
              <a:spcAft>
                <a:spcPts val="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No defined  dependent variable</a:t>
            </a:r>
            <a:endParaRPr kumimoji="0" lang="en-US" altLang="en-US" sz="2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p:txBody>
      </p:sp>
      <p:sp>
        <p:nvSpPr>
          <p:cNvPr id="5" name="Rectangle: Rounded Corners 4">
            <a:extLst>
              <a:ext uri="{FF2B5EF4-FFF2-40B4-BE49-F238E27FC236}">
                <a16:creationId xmlns:a16="http://schemas.microsoft.com/office/drawing/2014/main" id="{E414F076-81AF-4B04-A4B4-CD61BD34F93D}"/>
              </a:ext>
            </a:extLst>
          </p:cNvPr>
          <p:cNvSpPr/>
          <p:nvPr/>
        </p:nvSpPr>
        <p:spPr>
          <a:xfrm>
            <a:off x="7658100" y="2359163"/>
            <a:ext cx="3114675" cy="1069838"/>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2000"/>
              </a:lnSpc>
              <a:spcBef>
                <a:spcPts val="588"/>
              </a:spcBef>
              <a:spcAft>
                <a:spcPts val="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Pattern in the data to identify similarity</a:t>
            </a:r>
            <a:endParaRPr kumimoji="0" lang="en-US" altLang="en-US" sz="2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p:txBody>
      </p:sp>
      <p:sp>
        <p:nvSpPr>
          <p:cNvPr id="7" name="TextBox 6">
            <a:extLst>
              <a:ext uri="{FF2B5EF4-FFF2-40B4-BE49-F238E27FC236}">
                <a16:creationId xmlns:a16="http://schemas.microsoft.com/office/drawing/2014/main" id="{146CE9CF-C344-42AA-93B1-EEA38DE31CA2}"/>
              </a:ext>
            </a:extLst>
          </p:cNvPr>
          <p:cNvSpPr txBox="1"/>
          <p:nvPr/>
        </p:nvSpPr>
        <p:spPr>
          <a:xfrm>
            <a:off x="204788" y="865525"/>
            <a:ext cx="11720512"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3A6008"/>
              </a:buClr>
              <a:buSzTx/>
              <a:buFontTx/>
              <a:buNone/>
              <a:tabLst/>
              <a:defRPr/>
            </a:pPr>
            <a:r>
              <a:rPr kumimoji="0" lang="en-US" altLang="en-US" sz="2000" b="1" i="0" u="none" strike="noStrike" kern="1200" cap="none" spc="0" normalizeH="0" baseline="0" noProof="0" dirty="0">
                <a:ln>
                  <a:noFill/>
                </a:ln>
                <a:solidFill>
                  <a:prstClr val="black"/>
                </a:solidFill>
                <a:effectLst/>
                <a:uLnTx/>
                <a:uFillTx/>
                <a:latin typeface="Calibri" panose="020F0502020204030204"/>
                <a:ea typeface="+mn-ea"/>
                <a:cs typeface="+mn-cs"/>
              </a:rPr>
              <a:t>We look at methods to discover unknown relationships in data. </a:t>
            </a: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These methods are called unsupervised methods. With unsupervised methods, there’s no outcome that you’re trying to predict; instead, you want to discover patterns in the data that perhaps you hadn’t previously suspected. </a:t>
            </a:r>
          </a:p>
          <a:p>
            <a:pPr marL="0" marR="0" lvl="0" indent="0" algn="l" defTabSz="914400" rtl="0" eaLnBrk="1" fontAlgn="auto" latinLnBrk="0" hangingPunct="1">
              <a:lnSpc>
                <a:spcPct val="100000"/>
              </a:lnSpc>
              <a:spcBef>
                <a:spcPts val="0"/>
              </a:spcBef>
              <a:spcAft>
                <a:spcPts val="0"/>
              </a:spcAft>
              <a:buClr>
                <a:srgbClr val="3A6008"/>
              </a:buClr>
              <a:buSzTx/>
              <a:buFontTx/>
              <a:buNone/>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mn-cs"/>
              </a:rPr>
              <a:t>You are probably trying to unearth some hidden treasures !!</a:t>
            </a:r>
          </a:p>
        </p:txBody>
      </p:sp>
      <p:sp>
        <p:nvSpPr>
          <p:cNvPr id="8" name="Rectangle: Rounded Corners 7">
            <a:extLst>
              <a:ext uri="{FF2B5EF4-FFF2-40B4-BE49-F238E27FC236}">
                <a16:creationId xmlns:a16="http://schemas.microsoft.com/office/drawing/2014/main" id="{681EB6FC-C508-4391-B5BD-CD2EF97DBC4D}"/>
              </a:ext>
            </a:extLst>
          </p:cNvPr>
          <p:cNvSpPr/>
          <p:nvPr/>
        </p:nvSpPr>
        <p:spPr>
          <a:xfrm>
            <a:off x="204788" y="4216399"/>
            <a:ext cx="4305301" cy="2562225"/>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Pct val="88000"/>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early defined X and Y  variables</a:t>
            </a:r>
          </a:p>
          <a:p>
            <a:pPr marL="285750" marR="0" lvl="0" indent="-285750" algn="l" defTabSz="914400" rtl="0" eaLnBrk="1" fontAlgn="auto" latinLnBrk="0" hangingPunct="1">
              <a:lnSpc>
                <a:spcPct val="100000"/>
              </a:lnSpc>
              <a:spcBef>
                <a:spcPts val="0"/>
              </a:spcBef>
              <a:spcAft>
                <a:spcPts val="0"/>
              </a:spcAft>
              <a:buClrTx/>
              <a:buSzPct val="88000"/>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redict a continuous  response (Regression)</a:t>
            </a:r>
          </a:p>
          <a:p>
            <a:pPr marL="285750" marR="0" lvl="0" indent="-285750" algn="l" defTabSz="914400" rtl="0" eaLnBrk="1" fontAlgn="auto" latinLnBrk="0" hangingPunct="1">
              <a:lnSpc>
                <a:spcPct val="100000"/>
              </a:lnSpc>
              <a:spcBef>
                <a:spcPts val="0"/>
              </a:spcBef>
              <a:spcAft>
                <a:spcPts val="0"/>
              </a:spcAft>
              <a:buClrTx/>
              <a:buSzPct val="88000"/>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ategorical response  (classification)</a:t>
            </a:r>
          </a:p>
          <a:p>
            <a:pPr marL="285750" marR="0" lvl="0" indent="-285750" algn="l" defTabSz="914400" rtl="0" eaLnBrk="1" fontAlgn="auto" latinLnBrk="0" hangingPunct="1">
              <a:lnSpc>
                <a:spcPct val="100000"/>
              </a:lnSpc>
              <a:spcBef>
                <a:spcPts val="0"/>
              </a:spcBef>
              <a:spcAft>
                <a:spcPts val="0"/>
              </a:spcAft>
              <a:buClrTx/>
              <a:buSzPct val="88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It works for primarily on the Label Data</a:t>
            </a:r>
          </a:p>
        </p:txBody>
      </p:sp>
      <p:sp>
        <p:nvSpPr>
          <p:cNvPr id="9" name="Rectangle: Rounded Corners 8">
            <a:extLst>
              <a:ext uri="{FF2B5EF4-FFF2-40B4-BE49-F238E27FC236}">
                <a16:creationId xmlns:a16="http://schemas.microsoft.com/office/drawing/2014/main" id="{9F944C8C-941B-4D9A-8A8E-104458ED8E9C}"/>
              </a:ext>
            </a:extLst>
          </p:cNvPr>
          <p:cNvSpPr/>
          <p:nvPr/>
        </p:nvSpPr>
        <p:spPr>
          <a:xfrm>
            <a:off x="7372349" y="4216398"/>
            <a:ext cx="4305301" cy="2562226"/>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92000"/>
              </a:lnSpc>
              <a:spcBef>
                <a:spcPts val="588"/>
              </a:spcBef>
              <a:spcAft>
                <a:spcPts val="0"/>
              </a:spcAft>
              <a:buClrTx/>
              <a:buSzPct val="88000"/>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n-labeled data</a:t>
            </a:r>
          </a:p>
          <a:p>
            <a:pPr marL="285750" marR="0" lvl="0" indent="-285750" algn="l" defTabSz="914400" rtl="0" eaLnBrk="1" fontAlgn="auto" latinLnBrk="0" hangingPunct="1">
              <a:lnSpc>
                <a:spcPct val="92000"/>
              </a:lnSpc>
              <a:spcBef>
                <a:spcPts val="588"/>
              </a:spcBef>
              <a:spcAft>
                <a:spcPts val="0"/>
              </a:spcAft>
              <a:buClrTx/>
              <a:buSzPct val="88000"/>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merging patterns based  on similarity identified</a:t>
            </a:r>
          </a:p>
          <a:p>
            <a:pPr marL="285750" marR="0" lvl="0" indent="-285750" algn="l" defTabSz="914400" rtl="0" eaLnBrk="1" fontAlgn="auto" latinLnBrk="0" hangingPunct="1">
              <a:lnSpc>
                <a:spcPct val="92000"/>
              </a:lnSpc>
              <a:spcBef>
                <a:spcPts val="588"/>
              </a:spcBef>
              <a:spcAft>
                <a:spcPts val="0"/>
              </a:spcAft>
              <a:buClrTx/>
              <a:buSzPct val="88000"/>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ustering and PCA</a:t>
            </a:r>
          </a:p>
          <a:p>
            <a:pPr marL="285750" marR="0" lvl="0" indent="-285750" algn="l" defTabSz="914400" rtl="0" eaLnBrk="1" fontAlgn="auto" latinLnBrk="0" hangingPunct="1">
              <a:lnSpc>
                <a:spcPct val="92000"/>
              </a:lnSpc>
              <a:spcBef>
                <a:spcPts val="588"/>
              </a:spcBef>
              <a:spcAft>
                <a:spcPts val="0"/>
              </a:spcAft>
              <a:buClrTx/>
              <a:buSzPct val="88000"/>
              <a:buFont typeface="Arial" panose="020B0604020202020204" pitchFamily="34" charset="0"/>
              <a:buChar char="•"/>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ssociation rules (market basket analysis)</a:t>
            </a:r>
          </a:p>
        </p:txBody>
      </p:sp>
      <p:sp>
        <p:nvSpPr>
          <p:cNvPr id="10" name="TextBox 9">
            <a:extLst>
              <a:ext uri="{FF2B5EF4-FFF2-40B4-BE49-F238E27FC236}">
                <a16:creationId xmlns:a16="http://schemas.microsoft.com/office/drawing/2014/main" id="{4A6DF01E-B6F8-462D-836A-F72BEBEAA248}"/>
              </a:ext>
            </a:extLst>
          </p:cNvPr>
          <p:cNvSpPr txBox="1"/>
          <p:nvPr/>
        </p:nvSpPr>
        <p:spPr>
          <a:xfrm>
            <a:off x="409575" y="3847066"/>
            <a:ext cx="365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Supervised Learning -</a:t>
            </a:r>
          </a:p>
        </p:txBody>
      </p:sp>
      <p:sp>
        <p:nvSpPr>
          <p:cNvPr id="11" name="TextBox 10">
            <a:extLst>
              <a:ext uri="{FF2B5EF4-FFF2-40B4-BE49-F238E27FC236}">
                <a16:creationId xmlns:a16="http://schemas.microsoft.com/office/drawing/2014/main" id="{134AF28D-413E-411D-9AC4-202C96B56681}"/>
              </a:ext>
            </a:extLst>
          </p:cNvPr>
          <p:cNvSpPr txBox="1"/>
          <p:nvPr/>
        </p:nvSpPr>
        <p:spPr>
          <a:xfrm>
            <a:off x="7658100" y="3847066"/>
            <a:ext cx="365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nsupervised Learning -</a:t>
            </a:r>
          </a:p>
        </p:txBody>
      </p:sp>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4E2C4ABE-9F8A-41B7-AF91-CD3BDF2CD91C}"/>
                  </a:ext>
                </a:extLst>
              </p14:cNvPr>
              <p14:cNvContentPartPr/>
              <p14:nvPr/>
            </p14:nvContentPartPr>
            <p14:xfrm>
              <a:off x="2396520" y="207720"/>
              <a:ext cx="9795960" cy="6053760"/>
            </p14:xfrm>
          </p:contentPart>
        </mc:Choice>
        <mc:Fallback>
          <p:pic>
            <p:nvPicPr>
              <p:cNvPr id="3" name="Ink 2">
                <a:extLst>
                  <a:ext uri="{FF2B5EF4-FFF2-40B4-BE49-F238E27FC236}">
                    <a16:creationId xmlns:a16="http://schemas.microsoft.com/office/drawing/2014/main" id="{4E2C4ABE-9F8A-41B7-AF91-CD3BDF2CD91C}"/>
                  </a:ext>
                </a:extLst>
              </p:cNvPr>
              <p:cNvPicPr/>
              <p:nvPr/>
            </p:nvPicPr>
            <p:blipFill>
              <a:blip r:embed="rId6"/>
              <a:stretch>
                <a:fillRect/>
              </a:stretch>
            </p:blipFill>
            <p:spPr>
              <a:xfrm>
                <a:off x="2387160" y="198360"/>
                <a:ext cx="9814680" cy="6072480"/>
              </a:xfrm>
              <a:prstGeom prst="rect">
                <a:avLst/>
              </a:prstGeom>
            </p:spPr>
          </p:pic>
        </mc:Fallback>
      </mc:AlternateContent>
    </p:spTree>
    <p:extLst>
      <p:ext uri="{BB962C8B-B14F-4D97-AF65-F5344CB8AC3E}">
        <p14:creationId xmlns:p14="http://schemas.microsoft.com/office/powerpoint/2010/main" val="34885777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9E0140-EEE7-4198-8663-9252F853E3E4}"/>
              </a:ext>
            </a:extLst>
          </p:cNvPr>
          <p:cNvGraphicFramePr>
            <a:graphicFrameLocks noChangeAspect="1"/>
          </p:cNvGraphicFramePr>
          <p:nvPr>
            <p:custDataLst>
              <p:tags r:id="rId1"/>
            </p:custDataLst>
            <p:extLst>
              <p:ext uri="{D42A27DB-BD31-4B8C-83A1-F6EECF244321}">
                <p14:modId xmlns:p14="http://schemas.microsoft.com/office/powerpoint/2010/main" val="3747849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9A9E0140-EEE7-4198-8663-9252F853E3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23824" y="79376"/>
            <a:ext cx="11896725" cy="615950"/>
          </a:xfrm>
        </p:spPr>
        <p:txBody>
          <a:bodyPr vert="horz">
            <a:noAutofit/>
          </a:bodyPr>
          <a:lstStyle/>
          <a:p>
            <a:pPr>
              <a:lnSpc>
                <a:spcPct val="100000"/>
              </a:lnSpc>
              <a:spcBef>
                <a:spcPts val="0"/>
              </a:spcBef>
              <a:buClr>
                <a:srgbClr val="000000"/>
              </a:buClr>
              <a:buSzPts val="3000"/>
              <a:defRPr/>
            </a:pPr>
            <a:r>
              <a:rPr lang="en-US" sz="4000" b="1" kern="0" dirty="0">
                <a:solidFill>
                  <a:srgbClr val="000000"/>
                </a:solidFill>
                <a:latin typeface="+mn-lt"/>
              </a:rPr>
              <a:t>What is Clustering?</a:t>
            </a:r>
          </a:p>
        </p:txBody>
      </p:sp>
      <p:sp>
        <p:nvSpPr>
          <p:cNvPr id="16" name="TextBox 15">
            <a:extLst>
              <a:ext uri="{FF2B5EF4-FFF2-40B4-BE49-F238E27FC236}">
                <a16:creationId xmlns:a16="http://schemas.microsoft.com/office/drawing/2014/main" id="{0E04479E-3E7D-4C1D-B026-1A3E54FB904C}"/>
              </a:ext>
            </a:extLst>
          </p:cNvPr>
          <p:cNvSpPr txBox="1"/>
          <p:nvPr/>
        </p:nvSpPr>
        <p:spPr>
          <a:xfrm>
            <a:off x="157161" y="744518"/>
            <a:ext cx="4729164" cy="678904"/>
          </a:xfrm>
          <a:prstGeom prst="rect">
            <a:avLst/>
          </a:prstGeom>
          <a:noFill/>
        </p:spPr>
        <p:txBody>
          <a:bodyPr wrap="square">
            <a:spAutoFit/>
          </a:bodyPr>
          <a:lstStyle/>
          <a:p>
            <a:pPr marL="285750" marR="0" lvl="0" indent="-285750" algn="l" defTabSz="914400" rtl="0" eaLnBrk="1" fontAlgn="auto" latinLnBrk="0" hangingPunct="1">
              <a:lnSpc>
                <a:spcPct val="92000"/>
              </a:lnSpc>
              <a:spcBef>
                <a:spcPts val="588"/>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o defined  dependent variable</a:t>
            </a:r>
          </a:p>
          <a:p>
            <a:pPr marL="285750" marR="0" lvl="0" indent="-285750" algn="l" defTabSz="914400" rtl="0" eaLnBrk="1" fontAlgn="auto" latinLnBrk="0" hangingPunct="1">
              <a:lnSpc>
                <a:spcPct val="92000"/>
              </a:lnSpc>
              <a:spcBef>
                <a:spcPts val="588"/>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attern in the data to identify similarity</a:t>
            </a:r>
          </a:p>
        </p:txBody>
      </p:sp>
      <p:pic>
        <p:nvPicPr>
          <p:cNvPr id="18" name="Picture 17">
            <a:extLst>
              <a:ext uri="{FF2B5EF4-FFF2-40B4-BE49-F238E27FC236}">
                <a16:creationId xmlns:a16="http://schemas.microsoft.com/office/drawing/2014/main" id="{8EDBC589-F74D-49E8-9F73-2976C70B2589}"/>
              </a:ext>
            </a:extLst>
          </p:cNvPr>
          <p:cNvPicPr>
            <a:picLocks noChangeAspect="1"/>
          </p:cNvPicPr>
          <p:nvPr/>
        </p:nvPicPr>
        <p:blipFill>
          <a:blip r:embed="rId5"/>
          <a:stretch>
            <a:fillRect/>
          </a:stretch>
        </p:blipFill>
        <p:spPr>
          <a:xfrm>
            <a:off x="141655" y="1833037"/>
            <a:ext cx="3741736" cy="1981383"/>
          </a:xfrm>
          <a:prstGeom prst="rect">
            <a:avLst/>
          </a:prstGeom>
        </p:spPr>
      </p:pic>
      <p:pic>
        <p:nvPicPr>
          <p:cNvPr id="20" name="Picture 19">
            <a:extLst>
              <a:ext uri="{FF2B5EF4-FFF2-40B4-BE49-F238E27FC236}">
                <a16:creationId xmlns:a16="http://schemas.microsoft.com/office/drawing/2014/main" id="{81651B09-F05A-4549-9278-9122033F7D89}"/>
              </a:ext>
            </a:extLst>
          </p:cNvPr>
          <p:cNvPicPr>
            <a:picLocks noChangeAspect="1"/>
          </p:cNvPicPr>
          <p:nvPr/>
        </p:nvPicPr>
        <p:blipFill>
          <a:blip r:embed="rId6"/>
          <a:stretch>
            <a:fillRect/>
          </a:stretch>
        </p:blipFill>
        <p:spPr>
          <a:xfrm>
            <a:off x="4120304" y="1835703"/>
            <a:ext cx="3741736" cy="2032734"/>
          </a:xfrm>
          <a:prstGeom prst="rect">
            <a:avLst/>
          </a:prstGeom>
        </p:spPr>
      </p:pic>
      <p:grpSp>
        <p:nvGrpSpPr>
          <p:cNvPr id="22" name="Group 21">
            <a:extLst>
              <a:ext uri="{FF2B5EF4-FFF2-40B4-BE49-F238E27FC236}">
                <a16:creationId xmlns:a16="http://schemas.microsoft.com/office/drawing/2014/main" id="{0AF5BC3D-2709-4A4C-A1DB-2F16C8FFE77A}"/>
              </a:ext>
            </a:extLst>
          </p:cNvPr>
          <p:cNvGrpSpPr/>
          <p:nvPr/>
        </p:nvGrpSpPr>
        <p:grpSpPr>
          <a:xfrm>
            <a:off x="4589090" y="1253090"/>
            <a:ext cx="2966191" cy="600074"/>
            <a:chOff x="4895849" y="1264846"/>
            <a:chExt cx="2966191" cy="600074"/>
          </a:xfrm>
        </p:grpSpPr>
        <p:sp>
          <p:nvSpPr>
            <p:cNvPr id="8" name="Rectangle: Rounded Corners 7">
              <a:extLst>
                <a:ext uri="{FF2B5EF4-FFF2-40B4-BE49-F238E27FC236}">
                  <a16:creationId xmlns:a16="http://schemas.microsoft.com/office/drawing/2014/main" id="{681EB6FC-C508-4391-B5BD-CD2EF97DBC4D}"/>
                </a:ext>
              </a:extLst>
            </p:cNvPr>
            <p:cNvSpPr/>
            <p:nvPr/>
          </p:nvSpPr>
          <p:spPr>
            <a:xfrm>
              <a:off x="5076825" y="1264846"/>
              <a:ext cx="2785215" cy="60007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rouping datapoints - rows</a:t>
              </a:r>
              <a:endPar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1" name="Oval 20">
              <a:extLst>
                <a:ext uri="{FF2B5EF4-FFF2-40B4-BE49-F238E27FC236}">
                  <a16:creationId xmlns:a16="http://schemas.microsoft.com/office/drawing/2014/main" id="{13506E35-C915-4F0D-8BC8-1344056A333E}"/>
                </a:ext>
              </a:extLst>
            </p:cNvPr>
            <p:cNvSpPr/>
            <p:nvPr/>
          </p:nvSpPr>
          <p:spPr>
            <a:xfrm>
              <a:off x="4895849" y="1364859"/>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grpSp>
      <p:grpSp>
        <p:nvGrpSpPr>
          <p:cNvPr id="30" name="Group 29">
            <a:extLst>
              <a:ext uri="{FF2B5EF4-FFF2-40B4-BE49-F238E27FC236}">
                <a16:creationId xmlns:a16="http://schemas.microsoft.com/office/drawing/2014/main" id="{A0B8C162-290A-4989-A159-FACF5933A9D2}"/>
              </a:ext>
            </a:extLst>
          </p:cNvPr>
          <p:cNvGrpSpPr/>
          <p:nvPr/>
        </p:nvGrpSpPr>
        <p:grpSpPr>
          <a:xfrm>
            <a:off x="7862040" y="1253090"/>
            <a:ext cx="2966191" cy="600075"/>
            <a:chOff x="4895849" y="1164835"/>
            <a:chExt cx="2966191" cy="600075"/>
          </a:xfrm>
        </p:grpSpPr>
        <p:sp>
          <p:nvSpPr>
            <p:cNvPr id="32" name="Rectangle: Rounded Corners 31">
              <a:extLst>
                <a:ext uri="{FF2B5EF4-FFF2-40B4-BE49-F238E27FC236}">
                  <a16:creationId xmlns:a16="http://schemas.microsoft.com/office/drawing/2014/main" id="{BCB2DA68-88ED-4752-8CC4-0B1790BE4310}"/>
                </a:ext>
              </a:extLst>
            </p:cNvPr>
            <p:cNvSpPr/>
            <p:nvPr/>
          </p:nvSpPr>
          <p:spPr>
            <a:xfrm>
              <a:off x="5076825" y="1164835"/>
              <a:ext cx="2785215" cy="600075"/>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Homogeneity within datapoints </a:t>
              </a:r>
              <a:endPar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34" name="Oval 33">
              <a:extLst>
                <a:ext uri="{FF2B5EF4-FFF2-40B4-BE49-F238E27FC236}">
                  <a16:creationId xmlns:a16="http://schemas.microsoft.com/office/drawing/2014/main" id="{A43B857B-C7A0-4F82-B0EE-81DBE55D90A0}"/>
                </a:ext>
              </a:extLst>
            </p:cNvPr>
            <p:cNvSpPr/>
            <p:nvPr/>
          </p:nvSpPr>
          <p:spPr>
            <a:xfrm>
              <a:off x="4895849" y="1241034"/>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grpSp>
      <p:sp>
        <p:nvSpPr>
          <p:cNvPr id="23" name="Arrow: Chevron 22">
            <a:extLst>
              <a:ext uri="{FF2B5EF4-FFF2-40B4-BE49-F238E27FC236}">
                <a16:creationId xmlns:a16="http://schemas.microsoft.com/office/drawing/2014/main" id="{1A6239B9-4390-45A7-BBA9-066DFAAF1F51}"/>
              </a:ext>
            </a:extLst>
          </p:cNvPr>
          <p:cNvSpPr/>
          <p:nvPr/>
        </p:nvSpPr>
        <p:spPr>
          <a:xfrm>
            <a:off x="3648075" y="2621184"/>
            <a:ext cx="352425" cy="379191"/>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Arrow: Chevron 34">
            <a:extLst>
              <a:ext uri="{FF2B5EF4-FFF2-40B4-BE49-F238E27FC236}">
                <a16:creationId xmlns:a16="http://schemas.microsoft.com/office/drawing/2014/main" id="{B404318C-2504-45B1-A47C-2D973CCE45D1}"/>
              </a:ext>
            </a:extLst>
          </p:cNvPr>
          <p:cNvSpPr/>
          <p:nvPr/>
        </p:nvSpPr>
        <p:spPr>
          <a:xfrm>
            <a:off x="7840295" y="2507147"/>
            <a:ext cx="352425" cy="379191"/>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Arrow: Chevron 35">
            <a:extLst>
              <a:ext uri="{FF2B5EF4-FFF2-40B4-BE49-F238E27FC236}">
                <a16:creationId xmlns:a16="http://schemas.microsoft.com/office/drawing/2014/main" id="{082D4E4C-A0A2-4A56-BFA4-718359D6214A}"/>
              </a:ext>
            </a:extLst>
          </p:cNvPr>
          <p:cNvSpPr/>
          <p:nvPr/>
        </p:nvSpPr>
        <p:spPr>
          <a:xfrm rot="5400000">
            <a:off x="9259409" y="3915382"/>
            <a:ext cx="352425" cy="379191"/>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7" name="Group 36">
            <a:extLst>
              <a:ext uri="{FF2B5EF4-FFF2-40B4-BE49-F238E27FC236}">
                <a16:creationId xmlns:a16="http://schemas.microsoft.com/office/drawing/2014/main" id="{FB8C232D-A407-4309-8C78-6E18DCB1EB5A}"/>
              </a:ext>
            </a:extLst>
          </p:cNvPr>
          <p:cNvGrpSpPr/>
          <p:nvPr/>
        </p:nvGrpSpPr>
        <p:grpSpPr>
          <a:xfrm>
            <a:off x="7952525" y="4424915"/>
            <a:ext cx="2966191" cy="600075"/>
            <a:chOff x="4895849" y="1164835"/>
            <a:chExt cx="2966191" cy="600075"/>
          </a:xfrm>
        </p:grpSpPr>
        <p:sp>
          <p:nvSpPr>
            <p:cNvPr id="38" name="Rectangle: Rounded Corners 37">
              <a:extLst>
                <a:ext uri="{FF2B5EF4-FFF2-40B4-BE49-F238E27FC236}">
                  <a16:creationId xmlns:a16="http://schemas.microsoft.com/office/drawing/2014/main" id="{DC34C2DF-673B-4A5F-8034-53AF9F769FE2}"/>
                </a:ext>
              </a:extLst>
            </p:cNvPr>
            <p:cNvSpPr/>
            <p:nvPr/>
          </p:nvSpPr>
          <p:spPr>
            <a:xfrm>
              <a:off x="5076825" y="1164835"/>
              <a:ext cx="2785215" cy="600075"/>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Heterogeneity between datapoints </a:t>
              </a:r>
              <a:endPar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39" name="Oval 38">
              <a:extLst>
                <a:ext uri="{FF2B5EF4-FFF2-40B4-BE49-F238E27FC236}">
                  <a16:creationId xmlns:a16="http://schemas.microsoft.com/office/drawing/2014/main" id="{995D1A30-B647-4DA5-8A19-CFECEC18F867}"/>
                </a:ext>
              </a:extLst>
            </p:cNvPr>
            <p:cNvSpPr/>
            <p:nvPr/>
          </p:nvSpPr>
          <p:spPr>
            <a:xfrm>
              <a:off x="4895849" y="1241034"/>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grpSp>
      <p:pic>
        <p:nvPicPr>
          <p:cNvPr id="51" name="Picture 50">
            <a:extLst>
              <a:ext uri="{FF2B5EF4-FFF2-40B4-BE49-F238E27FC236}">
                <a16:creationId xmlns:a16="http://schemas.microsoft.com/office/drawing/2014/main" id="{8F8BC997-8B17-4021-8DD6-611340359A5B}"/>
              </a:ext>
            </a:extLst>
          </p:cNvPr>
          <p:cNvPicPr>
            <a:picLocks noChangeAspect="1"/>
          </p:cNvPicPr>
          <p:nvPr/>
        </p:nvPicPr>
        <p:blipFill>
          <a:blip r:embed="rId7"/>
          <a:stretch>
            <a:fillRect/>
          </a:stretch>
        </p:blipFill>
        <p:spPr>
          <a:xfrm>
            <a:off x="8381150" y="1872214"/>
            <a:ext cx="2409825" cy="1562100"/>
          </a:xfrm>
          <a:prstGeom prst="rect">
            <a:avLst/>
          </a:prstGeom>
        </p:spPr>
      </p:pic>
      <p:pic>
        <p:nvPicPr>
          <p:cNvPr id="53" name="Picture 52">
            <a:extLst>
              <a:ext uri="{FF2B5EF4-FFF2-40B4-BE49-F238E27FC236}">
                <a16:creationId xmlns:a16="http://schemas.microsoft.com/office/drawing/2014/main" id="{5E9ACE49-02A6-4E03-A450-1E9561800836}"/>
              </a:ext>
            </a:extLst>
          </p:cNvPr>
          <p:cNvPicPr>
            <a:picLocks noChangeAspect="1"/>
          </p:cNvPicPr>
          <p:nvPr/>
        </p:nvPicPr>
        <p:blipFill>
          <a:blip r:embed="rId8"/>
          <a:stretch>
            <a:fillRect/>
          </a:stretch>
        </p:blipFill>
        <p:spPr>
          <a:xfrm>
            <a:off x="8071591" y="5049090"/>
            <a:ext cx="3071657" cy="1481426"/>
          </a:xfrm>
          <a:prstGeom prst="rect">
            <a:avLst/>
          </a:prstGeom>
        </p:spPr>
      </p:pic>
      <p:grpSp>
        <p:nvGrpSpPr>
          <p:cNvPr id="55" name="Group 54">
            <a:extLst>
              <a:ext uri="{FF2B5EF4-FFF2-40B4-BE49-F238E27FC236}">
                <a16:creationId xmlns:a16="http://schemas.microsoft.com/office/drawing/2014/main" id="{2328805F-F1BA-4E6D-9F6E-06694EDEAA56}"/>
              </a:ext>
            </a:extLst>
          </p:cNvPr>
          <p:cNvGrpSpPr/>
          <p:nvPr/>
        </p:nvGrpSpPr>
        <p:grpSpPr>
          <a:xfrm>
            <a:off x="4266590" y="5523394"/>
            <a:ext cx="2966191" cy="600075"/>
            <a:chOff x="4895849" y="1164835"/>
            <a:chExt cx="2966191" cy="600075"/>
          </a:xfrm>
        </p:grpSpPr>
        <p:sp>
          <p:nvSpPr>
            <p:cNvPr id="56" name="Rectangle: Rounded Corners 55">
              <a:extLst>
                <a:ext uri="{FF2B5EF4-FFF2-40B4-BE49-F238E27FC236}">
                  <a16:creationId xmlns:a16="http://schemas.microsoft.com/office/drawing/2014/main" id="{68771C44-D280-46E6-9FFA-2D83CAC47896}"/>
                </a:ext>
              </a:extLst>
            </p:cNvPr>
            <p:cNvSpPr/>
            <p:nvPr/>
          </p:nvSpPr>
          <p:spPr>
            <a:xfrm>
              <a:off x="5076825" y="1164835"/>
              <a:ext cx="2785215" cy="600075"/>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SB &gt; SSW</a:t>
              </a:r>
              <a:endPar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57" name="Oval 56">
              <a:extLst>
                <a:ext uri="{FF2B5EF4-FFF2-40B4-BE49-F238E27FC236}">
                  <a16:creationId xmlns:a16="http://schemas.microsoft.com/office/drawing/2014/main" id="{D6807B7B-E4C5-4AB1-8ED7-7A1A314A98AE}"/>
                </a:ext>
              </a:extLst>
            </p:cNvPr>
            <p:cNvSpPr/>
            <p:nvPr/>
          </p:nvSpPr>
          <p:spPr>
            <a:xfrm>
              <a:off x="4895849" y="1241034"/>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grpSp>
      <p:sp>
        <p:nvSpPr>
          <p:cNvPr id="58" name="Arrow: Chevron 57">
            <a:extLst>
              <a:ext uri="{FF2B5EF4-FFF2-40B4-BE49-F238E27FC236}">
                <a16:creationId xmlns:a16="http://schemas.microsoft.com/office/drawing/2014/main" id="{289FF36B-47F0-424A-887D-48741A8F9BAA}"/>
              </a:ext>
            </a:extLst>
          </p:cNvPr>
          <p:cNvSpPr/>
          <p:nvPr/>
        </p:nvSpPr>
        <p:spPr>
          <a:xfrm rot="10800000">
            <a:off x="7379068" y="5604910"/>
            <a:ext cx="352425" cy="379191"/>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9" name="Picture 58">
            <a:extLst>
              <a:ext uri="{FF2B5EF4-FFF2-40B4-BE49-F238E27FC236}">
                <a16:creationId xmlns:a16="http://schemas.microsoft.com/office/drawing/2014/main" id="{A593F6D1-AEC5-4371-AC4B-C893C33FB94D}"/>
              </a:ext>
            </a:extLst>
          </p:cNvPr>
          <p:cNvPicPr>
            <a:picLocks noChangeAspect="1"/>
          </p:cNvPicPr>
          <p:nvPr/>
        </p:nvPicPr>
        <p:blipFill>
          <a:blip r:embed="rId9"/>
          <a:stretch>
            <a:fillRect/>
          </a:stretch>
        </p:blipFill>
        <p:spPr>
          <a:xfrm>
            <a:off x="125627" y="4602567"/>
            <a:ext cx="3994677" cy="1826808"/>
          </a:xfrm>
          <a:prstGeom prst="rect">
            <a:avLst/>
          </a:prstGeom>
        </p:spPr>
      </p:pic>
      <mc:AlternateContent xmlns:mc="http://schemas.openxmlformats.org/markup-compatibility/2006">
        <mc:Choice xmlns:p14="http://schemas.microsoft.com/office/powerpoint/2010/main" Requires="p14">
          <p:contentPart p14:bwMode="auto" r:id="rId10">
            <p14:nvContentPartPr>
              <p14:cNvPr id="3" name="Ink 2">
                <a:extLst>
                  <a:ext uri="{FF2B5EF4-FFF2-40B4-BE49-F238E27FC236}">
                    <a16:creationId xmlns:a16="http://schemas.microsoft.com/office/drawing/2014/main" id="{AB1736C1-1A47-42E6-8413-6CFE30169578}"/>
                  </a:ext>
                </a:extLst>
              </p14:cNvPr>
              <p14:cNvContentPartPr/>
              <p14:nvPr/>
            </p14:nvContentPartPr>
            <p14:xfrm>
              <a:off x="748800" y="1668240"/>
              <a:ext cx="9937800" cy="2993040"/>
            </p14:xfrm>
          </p:contentPart>
        </mc:Choice>
        <mc:Fallback>
          <p:pic>
            <p:nvPicPr>
              <p:cNvPr id="3" name="Ink 2">
                <a:extLst>
                  <a:ext uri="{FF2B5EF4-FFF2-40B4-BE49-F238E27FC236}">
                    <a16:creationId xmlns:a16="http://schemas.microsoft.com/office/drawing/2014/main" id="{AB1736C1-1A47-42E6-8413-6CFE30169578}"/>
                  </a:ext>
                </a:extLst>
              </p:cNvPr>
              <p:cNvPicPr/>
              <p:nvPr/>
            </p:nvPicPr>
            <p:blipFill>
              <a:blip r:embed="rId11"/>
              <a:stretch>
                <a:fillRect/>
              </a:stretch>
            </p:blipFill>
            <p:spPr>
              <a:xfrm>
                <a:off x="739440" y="1658880"/>
                <a:ext cx="9956520" cy="3011760"/>
              </a:xfrm>
              <a:prstGeom prst="rect">
                <a:avLst/>
              </a:prstGeom>
            </p:spPr>
          </p:pic>
        </mc:Fallback>
      </mc:AlternateContent>
    </p:spTree>
    <p:extLst>
      <p:ext uri="{BB962C8B-B14F-4D97-AF65-F5344CB8AC3E}">
        <p14:creationId xmlns:p14="http://schemas.microsoft.com/office/powerpoint/2010/main" val="8837223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EB0C40-4484-4E62-9571-3E21813974BC}"/>
              </a:ext>
            </a:extLst>
          </p:cNvPr>
          <p:cNvGraphicFramePr>
            <a:graphicFrameLocks noChangeAspect="1"/>
          </p:cNvGraphicFramePr>
          <p:nvPr>
            <p:custDataLst>
              <p:tags r:id="rId1"/>
            </p:custDataLst>
            <p:extLst>
              <p:ext uri="{D42A27DB-BD31-4B8C-83A1-F6EECF244321}">
                <p14:modId xmlns:p14="http://schemas.microsoft.com/office/powerpoint/2010/main" val="4117679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FDEB0C40-4484-4E62-9571-3E21813974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30873A-47BB-4799-A633-7CD6F940B805}"/>
              </a:ext>
            </a:extLst>
          </p:cNvPr>
          <p:cNvSpPr>
            <a:spLocks noGrp="1"/>
          </p:cNvSpPr>
          <p:nvPr>
            <p:ph type="title"/>
          </p:nvPr>
        </p:nvSpPr>
        <p:spPr>
          <a:xfrm>
            <a:off x="242299" y="169916"/>
            <a:ext cx="11685998" cy="652017"/>
          </a:xfrm>
        </p:spPr>
        <p:txBody>
          <a:bodyPr vert="horz">
            <a:noAutofit/>
          </a:bodyPr>
          <a:lstStyle/>
          <a:p>
            <a:pPr>
              <a:lnSpc>
                <a:spcPct val="100000"/>
              </a:lnSpc>
              <a:spcBef>
                <a:spcPts val="0"/>
              </a:spcBef>
              <a:buClr>
                <a:srgbClr val="000000"/>
              </a:buClr>
              <a:buSzPts val="3000"/>
              <a:defRPr/>
            </a:pPr>
            <a:r>
              <a:rPr lang="en-US" sz="4000" b="1" kern="0" dirty="0">
                <a:solidFill>
                  <a:srgbClr val="000000"/>
                </a:solidFill>
                <a:latin typeface="+mn-lt"/>
              </a:rPr>
              <a:t>Types of clustering</a:t>
            </a:r>
          </a:p>
        </p:txBody>
      </p:sp>
      <p:graphicFrame>
        <p:nvGraphicFramePr>
          <p:cNvPr id="34" name="Diagram 33">
            <a:extLst>
              <a:ext uri="{FF2B5EF4-FFF2-40B4-BE49-F238E27FC236}">
                <a16:creationId xmlns:a16="http://schemas.microsoft.com/office/drawing/2014/main" id="{DB09E4A5-DDFA-473D-BC65-826FDCF31E64}"/>
              </a:ext>
            </a:extLst>
          </p:cNvPr>
          <p:cNvGraphicFramePr/>
          <p:nvPr>
            <p:extLst>
              <p:ext uri="{D42A27DB-BD31-4B8C-83A1-F6EECF244321}">
                <p14:modId xmlns:p14="http://schemas.microsoft.com/office/powerpoint/2010/main" val="3709580638"/>
              </p:ext>
            </p:extLst>
          </p:nvPr>
        </p:nvGraphicFramePr>
        <p:xfrm>
          <a:off x="242299" y="711486"/>
          <a:ext cx="7915381" cy="529119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5" name="Rectangle: Rounded Corners 34">
            <a:extLst>
              <a:ext uri="{FF2B5EF4-FFF2-40B4-BE49-F238E27FC236}">
                <a16:creationId xmlns:a16="http://schemas.microsoft.com/office/drawing/2014/main" id="{24E86C64-DC5C-46E1-BD5B-24CE1D04857D}"/>
              </a:ext>
            </a:extLst>
          </p:cNvPr>
          <p:cNvSpPr/>
          <p:nvPr/>
        </p:nvSpPr>
        <p:spPr>
          <a:xfrm>
            <a:off x="8374292" y="1068513"/>
            <a:ext cx="3575407" cy="14563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1" hangingPunct="1">
              <a:spcBef>
                <a:spcPts val="300"/>
              </a:spcBef>
              <a:buFont typeface="Arial" panose="020B0604020202020204" pitchFamily="34" charset="0"/>
              <a:buChar char="•"/>
            </a:pPr>
            <a:r>
              <a:rPr lang="en-US" altLang="en-US" sz="1400" dirty="0">
                <a:cs typeface="Arial" panose="020B0604020202020204" pitchFamily="34" charset="0"/>
              </a:rPr>
              <a:t>Bottom-up approach</a:t>
            </a:r>
          </a:p>
          <a:p>
            <a:pPr marL="285750" indent="-285750" eaLnBrk="1" hangingPunct="1">
              <a:spcBef>
                <a:spcPts val="488"/>
              </a:spcBef>
              <a:buFont typeface="Arial" panose="020B0604020202020204" pitchFamily="34" charset="0"/>
              <a:buChar char="•"/>
            </a:pPr>
            <a:r>
              <a:rPr lang="en-US" altLang="en-US" sz="1400" dirty="0">
                <a:cs typeface="Arial" panose="020B0604020202020204" pitchFamily="34" charset="0"/>
              </a:rPr>
              <a:t>start with each object  forming a separate  group</a:t>
            </a:r>
          </a:p>
          <a:p>
            <a:pPr marL="285750" indent="-285750" eaLnBrk="1" hangingPunct="1">
              <a:spcBef>
                <a:spcPts val="388"/>
              </a:spcBef>
              <a:buFont typeface="Arial" panose="020B0604020202020204" pitchFamily="34" charset="0"/>
              <a:buChar char="•"/>
            </a:pPr>
            <a:r>
              <a:rPr lang="en-US" altLang="en-US" sz="1400" dirty="0">
                <a:cs typeface="Arial" panose="020B0604020202020204" pitchFamily="34" charset="0"/>
              </a:rPr>
              <a:t>It keeps on merging  the objects or groups  that are close to one  another</a:t>
            </a:r>
          </a:p>
        </p:txBody>
      </p:sp>
      <p:sp>
        <p:nvSpPr>
          <p:cNvPr id="36" name="Rectangle: Rounded Corners 35">
            <a:extLst>
              <a:ext uri="{FF2B5EF4-FFF2-40B4-BE49-F238E27FC236}">
                <a16:creationId xmlns:a16="http://schemas.microsoft.com/office/drawing/2014/main" id="{FB46A8D8-92AB-407F-AFEB-E694A563D660}"/>
              </a:ext>
            </a:extLst>
          </p:cNvPr>
          <p:cNvSpPr/>
          <p:nvPr/>
        </p:nvSpPr>
        <p:spPr>
          <a:xfrm>
            <a:off x="8374292" y="2628901"/>
            <a:ext cx="3575407" cy="14563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1" hangingPunct="1">
              <a:spcBef>
                <a:spcPts val="300"/>
              </a:spcBef>
              <a:buFont typeface="Arial" panose="020B0604020202020204" pitchFamily="34" charset="0"/>
              <a:buChar char="•"/>
            </a:pPr>
            <a:r>
              <a:rPr lang="en-US" altLang="en-US" sz="1400" dirty="0">
                <a:cs typeface="Arial" panose="020B0604020202020204" pitchFamily="34" charset="0"/>
              </a:rPr>
              <a:t>Top-down approach</a:t>
            </a:r>
          </a:p>
          <a:p>
            <a:pPr marL="285750" indent="-285750" eaLnBrk="1" hangingPunct="1">
              <a:spcBef>
                <a:spcPts val="300"/>
              </a:spcBef>
              <a:buFont typeface="Arial" panose="020B0604020202020204" pitchFamily="34" charset="0"/>
              <a:buChar char="•"/>
            </a:pPr>
            <a:r>
              <a:rPr lang="en-US" altLang="en-US" sz="1400" dirty="0">
                <a:cs typeface="Arial" panose="020B0604020202020204" pitchFamily="34" charset="0"/>
              </a:rPr>
              <a:t>start with all the  objects in the same  cluster</a:t>
            </a:r>
          </a:p>
          <a:p>
            <a:pPr marL="285750" indent="-285750" eaLnBrk="1" hangingPunct="1">
              <a:spcBef>
                <a:spcPts val="300"/>
              </a:spcBef>
              <a:buFont typeface="Arial" panose="020B0604020202020204" pitchFamily="34" charset="0"/>
              <a:buChar char="•"/>
            </a:pPr>
            <a:r>
              <a:rPr lang="en-US" altLang="en-US" sz="1400" dirty="0">
                <a:cs typeface="Arial" panose="020B0604020202020204" pitchFamily="34" charset="0"/>
              </a:rPr>
              <a:t>a cluster is split up into smaller clusters</a:t>
            </a:r>
          </a:p>
        </p:txBody>
      </p:sp>
      <p:sp>
        <p:nvSpPr>
          <p:cNvPr id="37" name="Rectangle: Rounded Corners 36">
            <a:extLst>
              <a:ext uri="{FF2B5EF4-FFF2-40B4-BE49-F238E27FC236}">
                <a16:creationId xmlns:a16="http://schemas.microsoft.com/office/drawing/2014/main" id="{0C0FF37F-B282-43CF-9833-ABF3F4719E26}"/>
              </a:ext>
            </a:extLst>
          </p:cNvPr>
          <p:cNvSpPr/>
          <p:nvPr/>
        </p:nvSpPr>
        <p:spPr>
          <a:xfrm>
            <a:off x="8374292" y="4189288"/>
            <a:ext cx="3575407" cy="17352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1" hangingPunct="1">
              <a:spcBef>
                <a:spcPts val="300"/>
              </a:spcBef>
              <a:buFont typeface="Arial" panose="020B0604020202020204" pitchFamily="34" charset="0"/>
              <a:buChar char="•"/>
            </a:pPr>
            <a:r>
              <a:rPr lang="en-US" altLang="en-US" sz="1400" dirty="0">
                <a:cs typeface="Arial" panose="020B0604020202020204" pitchFamily="34" charset="0"/>
              </a:rPr>
              <a:t>Iterative process</a:t>
            </a:r>
          </a:p>
          <a:p>
            <a:pPr marL="285750" indent="-285750" eaLnBrk="1" hangingPunct="1">
              <a:spcBef>
                <a:spcPts val="300"/>
              </a:spcBef>
              <a:buFont typeface="Arial" panose="020B0604020202020204" pitchFamily="34" charset="0"/>
              <a:buChar char="•"/>
            </a:pPr>
            <a:r>
              <a:rPr lang="en-US" altLang="en-US" sz="1400" dirty="0">
                <a:cs typeface="Arial" panose="020B0604020202020204" pitchFamily="34" charset="0"/>
              </a:rPr>
              <a:t>constructs ‘k’ partition of data</a:t>
            </a:r>
          </a:p>
          <a:p>
            <a:pPr marL="285750" indent="-285750" eaLnBrk="1" hangingPunct="1">
              <a:spcBef>
                <a:spcPts val="300"/>
              </a:spcBef>
              <a:buFont typeface="Arial" panose="020B0604020202020204" pitchFamily="34" charset="0"/>
              <a:buChar char="•"/>
            </a:pPr>
            <a:r>
              <a:rPr lang="en-US" altLang="en-US" sz="1400" dirty="0">
                <a:cs typeface="Arial" panose="020B0604020202020204" pitchFamily="34" charset="0"/>
              </a:rPr>
              <a:t>Each partition will  represent a cluster  and k ≤ n</a:t>
            </a:r>
          </a:p>
          <a:p>
            <a:pPr marL="285750" indent="-285750">
              <a:spcBef>
                <a:spcPts val="300"/>
              </a:spcBef>
              <a:buFont typeface="Arial" panose="020B0604020202020204" pitchFamily="34" charset="0"/>
              <a:buChar char="•"/>
            </a:pPr>
            <a:r>
              <a:rPr lang="en-US" altLang="en-US" sz="1400" dirty="0">
                <a:cs typeface="Arial" panose="020B0604020202020204" pitchFamily="34" charset="0"/>
              </a:rPr>
              <a:t>Minimize the distance of a data point from the center of each of the cluster</a:t>
            </a:r>
          </a:p>
        </p:txBody>
      </p:sp>
    </p:spTree>
    <p:extLst>
      <p:ext uri="{BB962C8B-B14F-4D97-AF65-F5344CB8AC3E}">
        <p14:creationId xmlns:p14="http://schemas.microsoft.com/office/powerpoint/2010/main" val="39842495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AE3FB31-6380-436F-9C4E-80D5E0E77300}"/>
              </a:ext>
            </a:extLst>
          </p:cNvPr>
          <p:cNvGraphicFramePr>
            <a:graphicFrameLocks noChangeAspect="1"/>
          </p:cNvGraphicFramePr>
          <p:nvPr>
            <p:custDataLst>
              <p:tags r:id="rId1"/>
            </p:custDataLst>
            <p:extLst>
              <p:ext uri="{D42A27DB-BD31-4B8C-83A1-F6EECF244321}">
                <p14:modId xmlns:p14="http://schemas.microsoft.com/office/powerpoint/2010/main" val="3141160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FAE3FB31-6380-436F-9C4E-80D5E0E77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23824" y="79376"/>
            <a:ext cx="11896725" cy="615950"/>
          </a:xfrm>
        </p:spPr>
        <p:txBody>
          <a:bodyPr vert="horz">
            <a:noAutofit/>
          </a:bodyPr>
          <a:lstStyle/>
          <a:p>
            <a:pPr>
              <a:lnSpc>
                <a:spcPct val="100000"/>
              </a:lnSpc>
              <a:spcBef>
                <a:spcPts val="0"/>
              </a:spcBef>
              <a:buClr>
                <a:srgbClr val="000000"/>
              </a:buClr>
              <a:buSzPts val="3000"/>
              <a:defRPr/>
            </a:pPr>
            <a:r>
              <a:rPr lang="en-US" sz="4000" b="1" kern="0" dirty="0">
                <a:solidFill>
                  <a:srgbClr val="000000"/>
                </a:solidFill>
                <a:latin typeface="+mn-lt"/>
              </a:rPr>
              <a:t>Technical Anatomy of Clustering – Distance Algorithms</a:t>
            </a:r>
          </a:p>
        </p:txBody>
      </p:sp>
      <p:sp>
        <p:nvSpPr>
          <p:cNvPr id="12" name="TextBox 11">
            <a:extLst>
              <a:ext uri="{FF2B5EF4-FFF2-40B4-BE49-F238E27FC236}">
                <a16:creationId xmlns:a16="http://schemas.microsoft.com/office/drawing/2014/main" id="{88E8F694-71E9-41DE-A2CA-92D77875A014}"/>
              </a:ext>
            </a:extLst>
          </p:cNvPr>
          <p:cNvSpPr txBox="1"/>
          <p:nvPr/>
        </p:nvSpPr>
        <p:spPr>
          <a:xfrm>
            <a:off x="204788" y="632342"/>
            <a:ext cx="1172051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ifferent measures are used to calculate the distance. In this section, we’ll cover a few of the most common ones.</a:t>
            </a:r>
          </a:p>
        </p:txBody>
      </p:sp>
      <p:grpSp>
        <p:nvGrpSpPr>
          <p:cNvPr id="13" name="Group 12">
            <a:extLst>
              <a:ext uri="{FF2B5EF4-FFF2-40B4-BE49-F238E27FC236}">
                <a16:creationId xmlns:a16="http://schemas.microsoft.com/office/drawing/2014/main" id="{6C2939CC-8ACB-4790-AD4B-84177AB08AF5}"/>
              </a:ext>
            </a:extLst>
          </p:cNvPr>
          <p:cNvGrpSpPr/>
          <p:nvPr/>
        </p:nvGrpSpPr>
        <p:grpSpPr>
          <a:xfrm>
            <a:off x="204788" y="1259148"/>
            <a:ext cx="2719387" cy="600074"/>
            <a:chOff x="4895849" y="1264846"/>
            <a:chExt cx="2966191" cy="600074"/>
          </a:xfrm>
        </p:grpSpPr>
        <p:sp>
          <p:nvSpPr>
            <p:cNvPr id="14" name="Rectangle: Rounded Corners 13">
              <a:extLst>
                <a:ext uri="{FF2B5EF4-FFF2-40B4-BE49-F238E27FC236}">
                  <a16:creationId xmlns:a16="http://schemas.microsoft.com/office/drawing/2014/main" id="{AB323D53-914C-4142-8E14-FA8169D18BA0}"/>
                </a:ext>
              </a:extLst>
            </p:cNvPr>
            <p:cNvSpPr/>
            <p:nvPr/>
          </p:nvSpPr>
          <p:spPr>
            <a:xfrm>
              <a:off x="5076825" y="1264846"/>
              <a:ext cx="2785215" cy="60007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uclidean Distance</a:t>
              </a:r>
              <a:endPar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5" name="Oval 14">
              <a:extLst>
                <a:ext uri="{FF2B5EF4-FFF2-40B4-BE49-F238E27FC236}">
                  <a16:creationId xmlns:a16="http://schemas.microsoft.com/office/drawing/2014/main" id="{6F1E78F3-6161-4EEB-A27B-114643289C7D}"/>
                </a:ext>
              </a:extLst>
            </p:cNvPr>
            <p:cNvSpPr/>
            <p:nvPr/>
          </p:nvSpPr>
          <p:spPr>
            <a:xfrm>
              <a:off x="4895849" y="1364859"/>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grpSp>
      <p:sp>
        <p:nvSpPr>
          <p:cNvPr id="16" name="TextBox 15">
            <a:extLst>
              <a:ext uri="{FF2B5EF4-FFF2-40B4-BE49-F238E27FC236}">
                <a16:creationId xmlns:a16="http://schemas.microsoft.com/office/drawing/2014/main" id="{243B0DF4-76AB-4D14-BC86-06F4681388DE}"/>
              </a:ext>
            </a:extLst>
          </p:cNvPr>
          <p:cNvSpPr txBox="1"/>
          <p:nvPr/>
        </p:nvSpPr>
        <p:spPr>
          <a:xfrm>
            <a:off x="370706" y="1867118"/>
            <a:ext cx="1172051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most common distance is Euclidean distance. The Euclidean distance between two vectors x and y is defined as -</a:t>
            </a:r>
          </a:p>
        </p:txBody>
      </p:sp>
      <p:sp>
        <p:nvSpPr>
          <p:cNvPr id="17" name="object 4">
            <a:extLst>
              <a:ext uri="{FF2B5EF4-FFF2-40B4-BE49-F238E27FC236}">
                <a16:creationId xmlns:a16="http://schemas.microsoft.com/office/drawing/2014/main" id="{F5B034B0-6BD1-45E2-9D16-78B63CAB01B0}"/>
              </a:ext>
            </a:extLst>
          </p:cNvPr>
          <p:cNvSpPr>
            <a:spLocks noChangeArrowheads="1"/>
          </p:cNvSpPr>
          <p:nvPr/>
        </p:nvSpPr>
        <p:spPr bwMode="auto">
          <a:xfrm>
            <a:off x="370705" y="2244347"/>
            <a:ext cx="3829819" cy="2854444"/>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18" name="Group 17">
            <a:extLst>
              <a:ext uri="{FF2B5EF4-FFF2-40B4-BE49-F238E27FC236}">
                <a16:creationId xmlns:a16="http://schemas.microsoft.com/office/drawing/2014/main" id="{C1A8B382-98E8-4955-A6A4-7FA3183B7319}"/>
              </a:ext>
            </a:extLst>
          </p:cNvPr>
          <p:cNvGrpSpPr/>
          <p:nvPr/>
        </p:nvGrpSpPr>
        <p:grpSpPr>
          <a:xfrm>
            <a:off x="204788" y="5302941"/>
            <a:ext cx="2719387" cy="600074"/>
            <a:chOff x="4895849" y="1264846"/>
            <a:chExt cx="2966191" cy="600074"/>
          </a:xfrm>
        </p:grpSpPr>
        <p:sp>
          <p:nvSpPr>
            <p:cNvPr id="19" name="Rectangle: Rounded Corners 18">
              <a:extLst>
                <a:ext uri="{FF2B5EF4-FFF2-40B4-BE49-F238E27FC236}">
                  <a16:creationId xmlns:a16="http://schemas.microsoft.com/office/drawing/2014/main" id="{053952C1-BB32-4A54-8E69-211B9430A882}"/>
                </a:ext>
              </a:extLst>
            </p:cNvPr>
            <p:cNvSpPr/>
            <p:nvPr/>
          </p:nvSpPr>
          <p:spPr>
            <a:xfrm>
              <a:off x="5076825" y="1264846"/>
              <a:ext cx="2785215" cy="60007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Manhattan Distance</a:t>
              </a:r>
              <a:endPar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0" name="Oval 19">
              <a:extLst>
                <a:ext uri="{FF2B5EF4-FFF2-40B4-BE49-F238E27FC236}">
                  <a16:creationId xmlns:a16="http://schemas.microsoft.com/office/drawing/2014/main" id="{9DFD0D1B-893C-4E7A-AF60-87657B60CE02}"/>
                </a:ext>
              </a:extLst>
            </p:cNvPr>
            <p:cNvSpPr/>
            <p:nvPr/>
          </p:nvSpPr>
          <p:spPr>
            <a:xfrm>
              <a:off x="4895849" y="1364859"/>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grpSp>
      <p:sp>
        <p:nvSpPr>
          <p:cNvPr id="21" name="TextBox 20">
            <a:extLst>
              <a:ext uri="{FF2B5EF4-FFF2-40B4-BE49-F238E27FC236}">
                <a16:creationId xmlns:a16="http://schemas.microsoft.com/office/drawing/2014/main" id="{8488BA7F-8745-4ECC-994B-A1CEBA55D4CE}"/>
              </a:ext>
            </a:extLst>
          </p:cNvPr>
          <p:cNvSpPr txBox="1"/>
          <p:nvPr/>
        </p:nvSpPr>
        <p:spPr>
          <a:xfrm>
            <a:off x="401268" y="5880093"/>
            <a:ext cx="117205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nhattan distance measures distance in the number of horizontal and vertical units it takes to get from one (real-valued) point to the other (no diagonal moves)</a:t>
            </a:r>
          </a:p>
        </p:txBody>
      </p:sp>
      <p:pic>
        <p:nvPicPr>
          <p:cNvPr id="24" name="Picture 23">
            <a:extLst>
              <a:ext uri="{FF2B5EF4-FFF2-40B4-BE49-F238E27FC236}">
                <a16:creationId xmlns:a16="http://schemas.microsoft.com/office/drawing/2014/main" id="{7641BF5E-592E-4B15-B282-89ECA1AE3476}"/>
              </a:ext>
            </a:extLst>
          </p:cNvPr>
          <p:cNvPicPr>
            <a:picLocks noChangeAspect="1"/>
          </p:cNvPicPr>
          <p:nvPr/>
        </p:nvPicPr>
        <p:blipFill>
          <a:blip r:embed="rId6"/>
          <a:stretch>
            <a:fillRect/>
          </a:stretch>
        </p:blipFill>
        <p:spPr>
          <a:xfrm>
            <a:off x="5845996" y="2518472"/>
            <a:ext cx="5345344" cy="1745941"/>
          </a:xfrm>
          <a:prstGeom prst="rect">
            <a:avLst/>
          </a:prstGeom>
        </p:spPr>
      </p:pic>
      <p:pic>
        <p:nvPicPr>
          <p:cNvPr id="26" name="Picture 25">
            <a:extLst>
              <a:ext uri="{FF2B5EF4-FFF2-40B4-BE49-F238E27FC236}">
                <a16:creationId xmlns:a16="http://schemas.microsoft.com/office/drawing/2014/main" id="{53754F1A-9DF0-41FD-ACA1-E61C68F6A16B}"/>
              </a:ext>
            </a:extLst>
          </p:cNvPr>
          <p:cNvPicPr>
            <a:picLocks noChangeAspect="1"/>
          </p:cNvPicPr>
          <p:nvPr/>
        </p:nvPicPr>
        <p:blipFill>
          <a:blip r:embed="rId7"/>
          <a:stretch>
            <a:fillRect/>
          </a:stretch>
        </p:blipFill>
        <p:spPr>
          <a:xfrm>
            <a:off x="6626832" y="4353933"/>
            <a:ext cx="4487138" cy="1507736"/>
          </a:xfrm>
          <a:prstGeom prst="rect">
            <a:avLst/>
          </a:prstGeom>
        </p:spPr>
      </p:pic>
      <p:sp>
        <p:nvSpPr>
          <p:cNvPr id="3" name="Rectangle: Rounded Corners 2">
            <a:extLst>
              <a:ext uri="{FF2B5EF4-FFF2-40B4-BE49-F238E27FC236}">
                <a16:creationId xmlns:a16="http://schemas.microsoft.com/office/drawing/2014/main" id="{07A1BA4D-DCE2-40B3-94F9-48272F29860A}"/>
              </a:ext>
            </a:extLst>
          </p:cNvPr>
          <p:cNvSpPr/>
          <p:nvPr/>
        </p:nvSpPr>
        <p:spPr>
          <a:xfrm>
            <a:off x="10150867" y="977348"/>
            <a:ext cx="1869682" cy="5264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umerical Data</a:t>
            </a:r>
          </a:p>
        </p:txBody>
      </p:sp>
      <mc:AlternateContent xmlns:mc="http://schemas.openxmlformats.org/markup-compatibility/2006">
        <mc:Choice xmlns:p14="http://schemas.microsoft.com/office/powerpoint/2010/main" Requires="p14">
          <p:contentPart p14:bwMode="auto" r:id="rId8">
            <p14:nvContentPartPr>
              <p14:cNvPr id="4" name="Ink 3">
                <a:extLst>
                  <a:ext uri="{FF2B5EF4-FFF2-40B4-BE49-F238E27FC236}">
                    <a16:creationId xmlns:a16="http://schemas.microsoft.com/office/drawing/2014/main" id="{C79DC66A-1372-4912-9374-E5E0EC5519A7}"/>
                  </a:ext>
                </a:extLst>
              </p14:cNvPr>
              <p14:cNvContentPartPr/>
              <p14:nvPr/>
            </p14:nvContentPartPr>
            <p14:xfrm>
              <a:off x="2778120" y="2416680"/>
              <a:ext cx="8547120" cy="3273840"/>
            </p14:xfrm>
          </p:contentPart>
        </mc:Choice>
        <mc:Fallback>
          <p:pic>
            <p:nvPicPr>
              <p:cNvPr id="4" name="Ink 3">
                <a:extLst>
                  <a:ext uri="{FF2B5EF4-FFF2-40B4-BE49-F238E27FC236}">
                    <a16:creationId xmlns:a16="http://schemas.microsoft.com/office/drawing/2014/main" id="{C79DC66A-1372-4912-9374-E5E0EC5519A7}"/>
                  </a:ext>
                </a:extLst>
              </p:cNvPr>
              <p:cNvPicPr/>
              <p:nvPr/>
            </p:nvPicPr>
            <p:blipFill>
              <a:blip r:embed="rId9"/>
              <a:stretch>
                <a:fillRect/>
              </a:stretch>
            </p:blipFill>
            <p:spPr>
              <a:xfrm>
                <a:off x="2768760" y="2407320"/>
                <a:ext cx="8565840" cy="329256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6" name="Ink 5">
                <a:extLst>
                  <a:ext uri="{FF2B5EF4-FFF2-40B4-BE49-F238E27FC236}">
                    <a16:creationId xmlns:a16="http://schemas.microsoft.com/office/drawing/2014/main" id="{3F8D3848-FC53-4476-86FE-224926686D8F}"/>
                  </a:ext>
                </a:extLst>
              </p14:cNvPr>
              <p14:cNvContentPartPr/>
              <p14:nvPr/>
            </p14:nvContentPartPr>
            <p14:xfrm>
              <a:off x="7189200" y="3507120"/>
              <a:ext cx="1015200" cy="293040"/>
            </p14:xfrm>
          </p:contentPart>
        </mc:Choice>
        <mc:Fallback>
          <p:pic>
            <p:nvPicPr>
              <p:cNvPr id="6" name="Ink 5">
                <a:extLst>
                  <a:ext uri="{FF2B5EF4-FFF2-40B4-BE49-F238E27FC236}">
                    <a16:creationId xmlns:a16="http://schemas.microsoft.com/office/drawing/2014/main" id="{3F8D3848-FC53-4476-86FE-224926686D8F}"/>
                  </a:ext>
                </a:extLst>
              </p:cNvPr>
              <p:cNvPicPr/>
              <p:nvPr/>
            </p:nvPicPr>
            <p:blipFill>
              <a:blip r:embed="rId11"/>
              <a:stretch>
                <a:fillRect/>
              </a:stretch>
            </p:blipFill>
            <p:spPr>
              <a:xfrm>
                <a:off x="7179840" y="3497760"/>
                <a:ext cx="1033920" cy="311760"/>
              </a:xfrm>
              <a:prstGeom prst="rect">
                <a:avLst/>
              </a:prstGeom>
            </p:spPr>
          </p:pic>
        </mc:Fallback>
      </mc:AlternateContent>
    </p:spTree>
    <p:extLst>
      <p:ext uri="{BB962C8B-B14F-4D97-AF65-F5344CB8AC3E}">
        <p14:creationId xmlns:p14="http://schemas.microsoft.com/office/powerpoint/2010/main" val="2330712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C95D5F-4FE0-4D4F-B153-73831168E3F6}"/>
              </a:ext>
            </a:extLst>
          </p:cNvPr>
          <p:cNvGraphicFramePr>
            <a:graphicFrameLocks noChangeAspect="1"/>
          </p:cNvGraphicFramePr>
          <p:nvPr>
            <p:custDataLst>
              <p:tags r:id="rId1"/>
            </p:custDataLst>
            <p:extLst>
              <p:ext uri="{D42A27DB-BD31-4B8C-83A1-F6EECF244321}">
                <p14:modId xmlns:p14="http://schemas.microsoft.com/office/powerpoint/2010/main" val="1669240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39C95D5F-4FE0-4D4F-B153-73831168E3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23824" y="79376"/>
            <a:ext cx="11896725" cy="615950"/>
          </a:xfrm>
        </p:spPr>
        <p:txBody>
          <a:bodyPr vert="horz">
            <a:noAutofit/>
          </a:bodyPr>
          <a:lstStyle/>
          <a:p>
            <a:pPr>
              <a:lnSpc>
                <a:spcPct val="100000"/>
              </a:lnSpc>
              <a:spcBef>
                <a:spcPts val="0"/>
              </a:spcBef>
              <a:buClr>
                <a:srgbClr val="000000"/>
              </a:buClr>
              <a:buSzPts val="3000"/>
              <a:defRPr/>
            </a:pPr>
            <a:r>
              <a:rPr lang="en-US" sz="4000" b="1" kern="0" dirty="0">
                <a:solidFill>
                  <a:srgbClr val="000000"/>
                </a:solidFill>
                <a:latin typeface="+mn-lt"/>
              </a:rPr>
              <a:t>Technical Anatomy of Clustering – Distance Algorithms</a:t>
            </a:r>
          </a:p>
        </p:txBody>
      </p:sp>
      <p:sp>
        <p:nvSpPr>
          <p:cNvPr id="12" name="TextBox 11">
            <a:extLst>
              <a:ext uri="{FF2B5EF4-FFF2-40B4-BE49-F238E27FC236}">
                <a16:creationId xmlns:a16="http://schemas.microsoft.com/office/drawing/2014/main" id="{88E8F694-71E9-41DE-A2CA-92D77875A014}"/>
              </a:ext>
            </a:extLst>
          </p:cNvPr>
          <p:cNvSpPr txBox="1"/>
          <p:nvPr/>
        </p:nvSpPr>
        <p:spPr>
          <a:xfrm>
            <a:off x="171451" y="527232"/>
            <a:ext cx="11720512" cy="369332"/>
          </a:xfrm>
          <a:prstGeom prst="rect">
            <a:avLst/>
          </a:prstGeom>
          <a:noFill/>
        </p:spPr>
        <p:txBody>
          <a:bodyPr wrap="square">
            <a:spAutoFit/>
          </a:bodyPr>
          <a:lstStyle/>
          <a:p>
            <a:pPr algn="l"/>
            <a:r>
              <a:rPr lang="en-US" dirty="0"/>
              <a:t>Different measures are used to calculate the distance. In this section, we’ll cover a few of the most common ones.</a:t>
            </a:r>
          </a:p>
        </p:txBody>
      </p:sp>
      <p:grpSp>
        <p:nvGrpSpPr>
          <p:cNvPr id="18" name="Group 17">
            <a:extLst>
              <a:ext uri="{FF2B5EF4-FFF2-40B4-BE49-F238E27FC236}">
                <a16:creationId xmlns:a16="http://schemas.microsoft.com/office/drawing/2014/main" id="{C1A8B382-98E8-4955-A6A4-7FA3183B7319}"/>
              </a:ext>
            </a:extLst>
          </p:cNvPr>
          <p:cNvGrpSpPr/>
          <p:nvPr/>
        </p:nvGrpSpPr>
        <p:grpSpPr>
          <a:xfrm>
            <a:off x="140493" y="1291424"/>
            <a:ext cx="2719387" cy="600074"/>
            <a:chOff x="4895849" y="1264846"/>
            <a:chExt cx="2966191" cy="600074"/>
          </a:xfrm>
        </p:grpSpPr>
        <p:sp>
          <p:nvSpPr>
            <p:cNvPr id="19" name="Rectangle: Rounded Corners 18">
              <a:extLst>
                <a:ext uri="{FF2B5EF4-FFF2-40B4-BE49-F238E27FC236}">
                  <a16:creationId xmlns:a16="http://schemas.microsoft.com/office/drawing/2014/main" id="{053952C1-BB32-4A54-8E69-211B9430A882}"/>
                </a:ext>
              </a:extLst>
            </p:cNvPr>
            <p:cNvSpPr/>
            <p:nvPr/>
          </p:nvSpPr>
          <p:spPr>
            <a:xfrm>
              <a:off x="5076825" y="1264846"/>
              <a:ext cx="2785215" cy="60007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en-US" sz="1600" b="1" dirty="0">
                  <a:solidFill>
                    <a:schemeClr val="tx1"/>
                  </a:solidFill>
                  <a:cs typeface="Arial" panose="020B0604020202020204" pitchFamily="34" charset="0"/>
                </a:rPr>
                <a:t>Cosine Similarity</a:t>
              </a:r>
              <a:endParaRPr lang="en-US" altLang="en-US" sz="2000" dirty="0">
                <a:solidFill>
                  <a:schemeClr val="tx1"/>
                </a:solidFill>
                <a:cs typeface="Arial" panose="020B0604020202020204" pitchFamily="34" charset="0"/>
              </a:endParaRPr>
            </a:p>
          </p:txBody>
        </p:sp>
        <p:sp>
          <p:nvSpPr>
            <p:cNvPr id="20" name="Oval 19">
              <a:extLst>
                <a:ext uri="{FF2B5EF4-FFF2-40B4-BE49-F238E27FC236}">
                  <a16:creationId xmlns:a16="http://schemas.microsoft.com/office/drawing/2014/main" id="{9DFD0D1B-893C-4E7A-AF60-87657B60CE02}"/>
                </a:ext>
              </a:extLst>
            </p:cNvPr>
            <p:cNvSpPr/>
            <p:nvPr/>
          </p:nvSpPr>
          <p:spPr>
            <a:xfrm>
              <a:off x="4895849" y="1364859"/>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grpSp>
      <p:sp>
        <p:nvSpPr>
          <p:cNvPr id="21" name="TextBox 20">
            <a:extLst>
              <a:ext uri="{FF2B5EF4-FFF2-40B4-BE49-F238E27FC236}">
                <a16:creationId xmlns:a16="http://schemas.microsoft.com/office/drawing/2014/main" id="{8488BA7F-8745-4ECC-994B-A1CEBA55D4CE}"/>
              </a:ext>
            </a:extLst>
          </p:cNvPr>
          <p:cNvSpPr txBox="1"/>
          <p:nvPr/>
        </p:nvSpPr>
        <p:spPr>
          <a:xfrm>
            <a:off x="5113312" y="1729831"/>
            <a:ext cx="6938195" cy="2031325"/>
          </a:xfrm>
          <a:prstGeom prst="rect">
            <a:avLst/>
          </a:prstGeom>
          <a:noFill/>
        </p:spPr>
        <p:txBody>
          <a:bodyPr wrap="square">
            <a:spAutoFit/>
          </a:bodyPr>
          <a:lstStyle/>
          <a:p>
            <a:pPr algn="l"/>
            <a:r>
              <a:rPr lang="en-US" sz="1400" dirty="0"/>
              <a:t>Cosine similarity is a common similarity metric in text analysis. It measures the smallest angle between two vectors (the angle theta between two vectors is assumed to be between 0 and 90 degrees). </a:t>
            </a:r>
          </a:p>
          <a:p>
            <a:pPr marL="285750" indent="-285750" algn="l">
              <a:buFont typeface="Arial" panose="020B0604020202020204" pitchFamily="34" charset="0"/>
              <a:buChar char="•"/>
            </a:pPr>
            <a:r>
              <a:rPr lang="en-US" sz="1400" dirty="0"/>
              <a:t>Two perpendicular vectors (theta = 90 degrees) are the most dissimilar; the cosine of 90 degrees is 0. </a:t>
            </a:r>
          </a:p>
          <a:p>
            <a:pPr marL="285750" indent="-285750" algn="l">
              <a:buFont typeface="Arial" panose="020B0604020202020204" pitchFamily="34" charset="0"/>
              <a:buChar char="•"/>
            </a:pPr>
            <a:r>
              <a:rPr lang="en-US" sz="1400" dirty="0"/>
              <a:t>Two parallel vectors are the most similar (identical, if you assume, they’re both based at the origin); the cosine of 0 degrees is 1. </a:t>
            </a:r>
          </a:p>
          <a:p>
            <a:pPr algn="l"/>
            <a:r>
              <a:rPr lang="en-US" sz="1400" dirty="0"/>
              <a:t>From elementary geometry, you can derive that the cosine of the angle between two vectors is given by the normalized dot product between the two vectors:</a:t>
            </a:r>
          </a:p>
        </p:txBody>
      </p:sp>
      <p:pic>
        <p:nvPicPr>
          <p:cNvPr id="5" name="Picture 4">
            <a:extLst>
              <a:ext uri="{FF2B5EF4-FFF2-40B4-BE49-F238E27FC236}">
                <a16:creationId xmlns:a16="http://schemas.microsoft.com/office/drawing/2014/main" id="{AD7F2E6F-E5B9-4C00-A6B1-68F82B7C8E89}"/>
              </a:ext>
            </a:extLst>
          </p:cNvPr>
          <p:cNvPicPr>
            <a:picLocks noChangeAspect="1"/>
          </p:cNvPicPr>
          <p:nvPr/>
        </p:nvPicPr>
        <p:blipFill>
          <a:blip r:embed="rId6"/>
          <a:stretch>
            <a:fillRect/>
          </a:stretch>
        </p:blipFill>
        <p:spPr>
          <a:xfrm>
            <a:off x="346705" y="1999836"/>
            <a:ext cx="4139748" cy="1175546"/>
          </a:xfrm>
          <a:prstGeom prst="rect">
            <a:avLst/>
          </a:prstGeom>
        </p:spPr>
      </p:pic>
      <p:pic>
        <p:nvPicPr>
          <p:cNvPr id="7" name="Picture 6">
            <a:extLst>
              <a:ext uri="{FF2B5EF4-FFF2-40B4-BE49-F238E27FC236}">
                <a16:creationId xmlns:a16="http://schemas.microsoft.com/office/drawing/2014/main" id="{41F958F5-6865-4A3F-929D-B6F753AC2D76}"/>
              </a:ext>
            </a:extLst>
          </p:cNvPr>
          <p:cNvPicPr>
            <a:picLocks noChangeAspect="1"/>
          </p:cNvPicPr>
          <p:nvPr/>
        </p:nvPicPr>
        <p:blipFill>
          <a:blip r:embed="rId7"/>
          <a:stretch>
            <a:fillRect/>
          </a:stretch>
        </p:blipFill>
        <p:spPr>
          <a:xfrm>
            <a:off x="140493" y="2917023"/>
            <a:ext cx="2314575" cy="1023953"/>
          </a:xfrm>
          <a:prstGeom prst="rect">
            <a:avLst/>
          </a:prstGeom>
        </p:spPr>
      </p:pic>
      <p:sp>
        <p:nvSpPr>
          <p:cNvPr id="26" name="TextBox 25">
            <a:extLst>
              <a:ext uri="{FF2B5EF4-FFF2-40B4-BE49-F238E27FC236}">
                <a16:creationId xmlns:a16="http://schemas.microsoft.com/office/drawing/2014/main" id="{5B357EB2-C0C7-423B-A740-6849EDC297D8}"/>
              </a:ext>
            </a:extLst>
          </p:cNvPr>
          <p:cNvSpPr txBox="1"/>
          <p:nvPr/>
        </p:nvSpPr>
        <p:spPr>
          <a:xfrm>
            <a:off x="123824" y="3973850"/>
            <a:ext cx="3228976" cy="707886"/>
          </a:xfrm>
          <a:prstGeom prst="rect">
            <a:avLst/>
          </a:prstGeom>
          <a:noFill/>
        </p:spPr>
        <p:txBody>
          <a:bodyPr wrap="square">
            <a:spAutoFit/>
          </a:bodyPr>
          <a:lstStyle/>
          <a:p>
            <a:pPr algn="l"/>
            <a:r>
              <a:rPr lang="en-US" sz="1600" b="1" i="0" dirty="0">
                <a:solidFill>
                  <a:srgbClr val="292929"/>
                </a:solidFill>
                <a:effectLst/>
              </a:rPr>
              <a:t>Here’s an example:</a:t>
            </a:r>
            <a:endParaRPr lang="en-US" sz="1200" b="1" i="0" dirty="0">
              <a:solidFill>
                <a:srgbClr val="292929"/>
              </a:solidFill>
              <a:effectLst/>
            </a:endParaRPr>
          </a:p>
          <a:p>
            <a:pPr algn="l"/>
            <a:r>
              <a:rPr lang="en-US" sz="1200" b="0" i="1" dirty="0">
                <a:solidFill>
                  <a:srgbClr val="292929"/>
                </a:solidFill>
                <a:effectLst/>
              </a:rPr>
              <a:t>Document 1: Deep Learning can be hard</a:t>
            </a:r>
            <a:endParaRPr lang="en-US" sz="1200" b="0" i="0" dirty="0">
              <a:solidFill>
                <a:srgbClr val="292929"/>
              </a:solidFill>
              <a:effectLst/>
            </a:endParaRPr>
          </a:p>
          <a:p>
            <a:pPr algn="l"/>
            <a:r>
              <a:rPr lang="en-US" sz="1200" b="0" i="1" dirty="0">
                <a:solidFill>
                  <a:srgbClr val="292929"/>
                </a:solidFill>
                <a:effectLst/>
              </a:rPr>
              <a:t>Document 2: Deep Learning can be simple</a:t>
            </a:r>
            <a:endParaRPr lang="en-US" sz="1200" b="0" i="0" dirty="0">
              <a:solidFill>
                <a:srgbClr val="292929"/>
              </a:solidFill>
              <a:effectLst/>
            </a:endParaRPr>
          </a:p>
        </p:txBody>
      </p:sp>
      <p:sp>
        <p:nvSpPr>
          <p:cNvPr id="28" name="TextBox 27">
            <a:extLst>
              <a:ext uri="{FF2B5EF4-FFF2-40B4-BE49-F238E27FC236}">
                <a16:creationId xmlns:a16="http://schemas.microsoft.com/office/drawing/2014/main" id="{EF24A705-4783-4DBF-8375-E443D37763D6}"/>
              </a:ext>
            </a:extLst>
          </p:cNvPr>
          <p:cNvSpPr txBox="1"/>
          <p:nvPr/>
        </p:nvSpPr>
        <p:spPr>
          <a:xfrm>
            <a:off x="140493" y="4657870"/>
            <a:ext cx="6143624" cy="307777"/>
          </a:xfrm>
          <a:prstGeom prst="rect">
            <a:avLst/>
          </a:prstGeom>
          <a:noFill/>
        </p:spPr>
        <p:txBody>
          <a:bodyPr wrap="square">
            <a:spAutoFit/>
          </a:bodyPr>
          <a:lstStyle/>
          <a:p>
            <a:r>
              <a:rPr lang="en-US" sz="1400" b="1" i="0">
                <a:solidFill>
                  <a:srgbClr val="292929"/>
                </a:solidFill>
                <a:effectLst/>
                <a:latin typeface="charter"/>
              </a:rPr>
              <a:t>Step 1: First we obtain a vectorized representation of the texts</a:t>
            </a:r>
            <a:endParaRPr lang="en-US" sz="1400" dirty="0"/>
          </a:p>
        </p:txBody>
      </p:sp>
      <p:pic>
        <p:nvPicPr>
          <p:cNvPr id="27" name="Picture 26">
            <a:extLst>
              <a:ext uri="{FF2B5EF4-FFF2-40B4-BE49-F238E27FC236}">
                <a16:creationId xmlns:a16="http://schemas.microsoft.com/office/drawing/2014/main" id="{29528F10-91FB-4F62-993A-478095138E5B}"/>
              </a:ext>
            </a:extLst>
          </p:cNvPr>
          <p:cNvPicPr>
            <a:picLocks noChangeAspect="1"/>
          </p:cNvPicPr>
          <p:nvPr/>
        </p:nvPicPr>
        <p:blipFill>
          <a:blip r:embed="rId8"/>
          <a:stretch>
            <a:fillRect/>
          </a:stretch>
        </p:blipFill>
        <p:spPr>
          <a:xfrm>
            <a:off x="249950" y="4977955"/>
            <a:ext cx="3360079" cy="1349915"/>
          </a:xfrm>
          <a:prstGeom prst="rect">
            <a:avLst/>
          </a:prstGeom>
        </p:spPr>
      </p:pic>
      <p:sp>
        <p:nvSpPr>
          <p:cNvPr id="32" name="TextBox 31">
            <a:extLst>
              <a:ext uri="{FF2B5EF4-FFF2-40B4-BE49-F238E27FC236}">
                <a16:creationId xmlns:a16="http://schemas.microsoft.com/office/drawing/2014/main" id="{4A2B59D6-A829-4C4F-9034-39DB9C885063}"/>
              </a:ext>
            </a:extLst>
          </p:cNvPr>
          <p:cNvSpPr txBox="1"/>
          <p:nvPr/>
        </p:nvSpPr>
        <p:spPr>
          <a:xfrm>
            <a:off x="5348288" y="3973850"/>
            <a:ext cx="6143624" cy="646331"/>
          </a:xfrm>
          <a:prstGeom prst="rect">
            <a:avLst/>
          </a:prstGeom>
          <a:noFill/>
        </p:spPr>
        <p:txBody>
          <a:bodyPr wrap="square">
            <a:spAutoFit/>
          </a:bodyPr>
          <a:lstStyle/>
          <a:p>
            <a:pPr algn="l"/>
            <a:r>
              <a:rPr lang="en-US" sz="1200" b="0" i="1" dirty="0">
                <a:solidFill>
                  <a:srgbClr val="292929"/>
                </a:solidFill>
                <a:effectLst/>
              </a:rPr>
              <a:t>Document 1: [1, 1, 1, 1, 1, 0] let’s refer to this as A</a:t>
            </a:r>
            <a:endParaRPr lang="en-US" sz="1200" b="0" i="0" dirty="0">
              <a:solidFill>
                <a:srgbClr val="292929"/>
              </a:solidFill>
              <a:effectLst/>
            </a:endParaRPr>
          </a:p>
          <a:p>
            <a:pPr algn="l"/>
            <a:r>
              <a:rPr lang="en-US" sz="1200" b="0" i="1" dirty="0">
                <a:solidFill>
                  <a:srgbClr val="292929"/>
                </a:solidFill>
                <a:effectLst/>
              </a:rPr>
              <a:t>Document 2: [1, 1, 1, 1, 0, 1] let’s refer to this as B</a:t>
            </a:r>
          </a:p>
          <a:p>
            <a:pPr algn="l"/>
            <a:r>
              <a:rPr lang="en-US" sz="1200" b="0" i="0" dirty="0">
                <a:solidFill>
                  <a:srgbClr val="292929"/>
                </a:solidFill>
                <a:effectLst/>
              </a:rPr>
              <a:t>Above we have two vectors (A and B) that are in a 6-dimension vector space</a:t>
            </a:r>
          </a:p>
        </p:txBody>
      </p:sp>
      <p:sp>
        <p:nvSpPr>
          <p:cNvPr id="33" name="Arrow: Chevron 32">
            <a:extLst>
              <a:ext uri="{FF2B5EF4-FFF2-40B4-BE49-F238E27FC236}">
                <a16:creationId xmlns:a16="http://schemas.microsoft.com/office/drawing/2014/main" id="{EE271073-E08B-44C1-AD99-F6D2200F2496}"/>
              </a:ext>
            </a:extLst>
          </p:cNvPr>
          <p:cNvSpPr/>
          <p:nvPr/>
        </p:nvSpPr>
        <p:spPr>
          <a:xfrm>
            <a:off x="4774405" y="4266371"/>
            <a:ext cx="352425" cy="379191"/>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TextBox 34">
            <a:extLst>
              <a:ext uri="{FF2B5EF4-FFF2-40B4-BE49-F238E27FC236}">
                <a16:creationId xmlns:a16="http://schemas.microsoft.com/office/drawing/2014/main" id="{2D63B870-C549-4068-9BF4-850B47736655}"/>
              </a:ext>
            </a:extLst>
          </p:cNvPr>
          <p:cNvSpPr txBox="1"/>
          <p:nvPr/>
        </p:nvSpPr>
        <p:spPr>
          <a:xfrm>
            <a:off x="5348288" y="4656744"/>
            <a:ext cx="6143624" cy="307777"/>
          </a:xfrm>
          <a:prstGeom prst="rect">
            <a:avLst/>
          </a:prstGeom>
          <a:noFill/>
        </p:spPr>
        <p:txBody>
          <a:bodyPr wrap="square">
            <a:spAutoFit/>
          </a:bodyPr>
          <a:lstStyle/>
          <a:p>
            <a:r>
              <a:rPr lang="en-US" sz="1400" b="1" i="0" dirty="0">
                <a:solidFill>
                  <a:srgbClr val="292929"/>
                </a:solidFill>
                <a:effectLst/>
                <a:latin typeface="charter"/>
              </a:rPr>
              <a:t>Step 2: Find the cosine similarity</a:t>
            </a:r>
            <a:endParaRPr lang="en-US" sz="1400" dirty="0"/>
          </a:p>
        </p:txBody>
      </p:sp>
      <p:sp>
        <p:nvSpPr>
          <p:cNvPr id="37" name="TextBox 36">
            <a:extLst>
              <a:ext uri="{FF2B5EF4-FFF2-40B4-BE49-F238E27FC236}">
                <a16:creationId xmlns:a16="http://schemas.microsoft.com/office/drawing/2014/main" id="{43D54D57-143E-4D1E-BA4C-5B5B853D7821}"/>
              </a:ext>
            </a:extLst>
          </p:cNvPr>
          <p:cNvSpPr txBox="1"/>
          <p:nvPr/>
        </p:nvSpPr>
        <p:spPr>
          <a:xfrm>
            <a:off x="5348287" y="5004311"/>
            <a:ext cx="6672261" cy="1015663"/>
          </a:xfrm>
          <a:prstGeom prst="rect">
            <a:avLst/>
          </a:prstGeom>
          <a:noFill/>
        </p:spPr>
        <p:txBody>
          <a:bodyPr wrap="square">
            <a:spAutoFit/>
          </a:bodyPr>
          <a:lstStyle/>
          <a:p>
            <a:pPr marL="171450" indent="-171450" algn="l">
              <a:buFont typeface="Arial" panose="020B0604020202020204" pitchFamily="34" charset="0"/>
              <a:buChar char="•"/>
            </a:pPr>
            <a:r>
              <a:rPr lang="en-US" sz="1200" b="0" i="0" dirty="0">
                <a:solidFill>
                  <a:srgbClr val="292929"/>
                </a:solidFill>
                <a:effectLst/>
              </a:rPr>
              <a:t>Calculate the dot product between A and B: 1.1 + 1.1 + 1.1 + 1.1 + 1.0 + 0.1 = </a:t>
            </a:r>
            <a:r>
              <a:rPr lang="en-US" sz="1200" b="1" i="0" dirty="0">
                <a:solidFill>
                  <a:srgbClr val="292929"/>
                </a:solidFill>
                <a:effectLst/>
              </a:rPr>
              <a:t>4</a:t>
            </a:r>
            <a:endParaRPr lang="en-US" sz="1200" b="0" i="0" dirty="0">
              <a:solidFill>
                <a:srgbClr val="292929"/>
              </a:solidFill>
              <a:effectLst/>
            </a:endParaRPr>
          </a:p>
          <a:p>
            <a:pPr marL="171450" indent="-171450" algn="l">
              <a:buFont typeface="Arial" panose="020B0604020202020204" pitchFamily="34" charset="0"/>
              <a:buChar char="•"/>
            </a:pPr>
            <a:r>
              <a:rPr lang="en-US" sz="1200" b="0" i="0" dirty="0">
                <a:solidFill>
                  <a:srgbClr val="292929"/>
                </a:solidFill>
                <a:effectLst/>
              </a:rPr>
              <a:t>Calculate the magnitude of the vector A: √1² + 1² + 1² + 1² + 1² + 0² = </a:t>
            </a:r>
            <a:r>
              <a:rPr lang="en-US" sz="1200" b="1" i="0" dirty="0">
                <a:solidFill>
                  <a:srgbClr val="292929"/>
                </a:solidFill>
                <a:effectLst/>
              </a:rPr>
              <a:t>2.2360679775</a:t>
            </a:r>
            <a:endParaRPr lang="en-US" sz="1200" b="0" i="0" dirty="0">
              <a:solidFill>
                <a:srgbClr val="292929"/>
              </a:solidFill>
              <a:effectLst/>
            </a:endParaRPr>
          </a:p>
          <a:p>
            <a:pPr marL="171450" indent="-171450" algn="l">
              <a:buFont typeface="Arial" panose="020B0604020202020204" pitchFamily="34" charset="0"/>
              <a:buChar char="•"/>
            </a:pPr>
            <a:r>
              <a:rPr lang="en-US" sz="1200" b="0" i="0" dirty="0">
                <a:solidFill>
                  <a:srgbClr val="292929"/>
                </a:solidFill>
                <a:effectLst/>
              </a:rPr>
              <a:t>Calculate the magnitude of the vector B: √1² + 1² + 1² + 1² + 0²+ 1² = </a:t>
            </a:r>
            <a:r>
              <a:rPr lang="en-US" sz="1200" b="1" i="0" dirty="0">
                <a:solidFill>
                  <a:srgbClr val="292929"/>
                </a:solidFill>
                <a:effectLst/>
              </a:rPr>
              <a:t>2.2360679775</a:t>
            </a:r>
            <a:endParaRPr lang="en-US" sz="1200" b="0" i="0" dirty="0">
              <a:solidFill>
                <a:srgbClr val="292929"/>
              </a:solidFill>
              <a:effectLst/>
            </a:endParaRPr>
          </a:p>
          <a:p>
            <a:pPr marL="171450" indent="-171450" algn="l">
              <a:buFont typeface="Arial" panose="020B0604020202020204" pitchFamily="34" charset="0"/>
              <a:buChar char="•"/>
            </a:pPr>
            <a:r>
              <a:rPr lang="en-US" sz="1200" b="0" i="0" dirty="0">
                <a:solidFill>
                  <a:srgbClr val="292929"/>
                </a:solidFill>
                <a:effectLst/>
              </a:rPr>
              <a:t>Calculate the cosine similarity: (4) / (2.2360679775*2.2360679775) = </a:t>
            </a:r>
            <a:r>
              <a:rPr lang="en-US" sz="1200" b="1" i="0" dirty="0">
                <a:solidFill>
                  <a:srgbClr val="292929"/>
                </a:solidFill>
                <a:effectLst/>
              </a:rPr>
              <a:t>0.80 (80% similarity between the sentences in both document)</a:t>
            </a:r>
            <a:endParaRPr lang="en-US" sz="1200" b="0" i="0" dirty="0">
              <a:solidFill>
                <a:srgbClr val="292929"/>
              </a:solidFill>
              <a:effectLst/>
            </a:endParaRPr>
          </a:p>
        </p:txBody>
      </p:sp>
      <p:sp>
        <p:nvSpPr>
          <p:cNvPr id="17" name="Rectangle: Rounded Corners 16">
            <a:extLst>
              <a:ext uri="{FF2B5EF4-FFF2-40B4-BE49-F238E27FC236}">
                <a16:creationId xmlns:a16="http://schemas.microsoft.com/office/drawing/2014/main" id="{DF805FE2-0E07-4BCF-AE7C-3AB30586817B}"/>
              </a:ext>
            </a:extLst>
          </p:cNvPr>
          <p:cNvSpPr/>
          <p:nvPr/>
        </p:nvSpPr>
        <p:spPr>
          <a:xfrm>
            <a:off x="10150867" y="955302"/>
            <a:ext cx="1869682" cy="5264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egorical Data</a:t>
            </a:r>
          </a:p>
        </p:txBody>
      </p:sp>
      <mc:AlternateContent xmlns:mc="http://schemas.openxmlformats.org/markup-compatibility/2006">
        <mc:Choice xmlns:p14="http://schemas.microsoft.com/office/powerpoint/2010/main" Requires="p14">
          <p:contentPart p14:bwMode="auto" r:id="rId9">
            <p14:nvContentPartPr>
              <p14:cNvPr id="3" name="Ink 2">
                <a:extLst>
                  <a:ext uri="{FF2B5EF4-FFF2-40B4-BE49-F238E27FC236}">
                    <a16:creationId xmlns:a16="http://schemas.microsoft.com/office/drawing/2014/main" id="{A1ACF6B1-22C1-41F9-A1D7-52820D6AD6D3}"/>
                  </a:ext>
                </a:extLst>
              </p14:cNvPr>
              <p14:cNvContentPartPr/>
              <p14:nvPr/>
            </p14:nvContentPartPr>
            <p14:xfrm>
              <a:off x="2804400" y="1052280"/>
              <a:ext cx="8696880" cy="4875840"/>
            </p14:xfrm>
          </p:contentPart>
        </mc:Choice>
        <mc:Fallback>
          <p:pic>
            <p:nvPicPr>
              <p:cNvPr id="3" name="Ink 2">
                <a:extLst>
                  <a:ext uri="{FF2B5EF4-FFF2-40B4-BE49-F238E27FC236}">
                    <a16:creationId xmlns:a16="http://schemas.microsoft.com/office/drawing/2014/main" id="{A1ACF6B1-22C1-41F9-A1D7-52820D6AD6D3}"/>
                  </a:ext>
                </a:extLst>
              </p:cNvPr>
              <p:cNvPicPr/>
              <p:nvPr/>
            </p:nvPicPr>
            <p:blipFill>
              <a:blip r:embed="rId10"/>
              <a:stretch>
                <a:fillRect/>
              </a:stretch>
            </p:blipFill>
            <p:spPr>
              <a:xfrm>
                <a:off x="2795040" y="1042920"/>
                <a:ext cx="8715600" cy="4894560"/>
              </a:xfrm>
              <a:prstGeom prst="rect">
                <a:avLst/>
              </a:prstGeom>
            </p:spPr>
          </p:pic>
        </mc:Fallback>
      </mc:AlternateContent>
    </p:spTree>
    <p:extLst>
      <p:ext uri="{BB962C8B-B14F-4D97-AF65-F5344CB8AC3E}">
        <p14:creationId xmlns:p14="http://schemas.microsoft.com/office/powerpoint/2010/main" val="31912056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93E3C7-B639-4AB3-97F5-2E3E564C5516}"/>
              </a:ext>
            </a:extLst>
          </p:cNvPr>
          <p:cNvGraphicFramePr>
            <a:graphicFrameLocks noChangeAspect="1"/>
          </p:cNvGraphicFramePr>
          <p:nvPr>
            <p:custDataLst>
              <p:tags r:id="rId1"/>
            </p:custDataLst>
            <p:extLst>
              <p:ext uri="{D42A27DB-BD31-4B8C-83A1-F6EECF244321}">
                <p14:modId xmlns:p14="http://schemas.microsoft.com/office/powerpoint/2010/main" val="3178471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993E3C7-B639-4AB3-97F5-2E3E564C55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3013F-CCFC-4588-B693-22F514492FED}"/>
              </a:ext>
            </a:extLst>
          </p:cNvPr>
          <p:cNvSpPr>
            <a:spLocks noGrp="1"/>
          </p:cNvSpPr>
          <p:nvPr>
            <p:ph type="title"/>
          </p:nvPr>
        </p:nvSpPr>
        <p:spPr>
          <a:xfrm>
            <a:off x="123824" y="79376"/>
            <a:ext cx="11896725" cy="615950"/>
          </a:xfrm>
        </p:spPr>
        <p:txBody>
          <a:bodyPr vert="horz">
            <a:noAutofit/>
          </a:bodyPr>
          <a:lstStyle/>
          <a:p>
            <a:pPr>
              <a:lnSpc>
                <a:spcPct val="100000"/>
              </a:lnSpc>
              <a:spcBef>
                <a:spcPts val="0"/>
              </a:spcBef>
              <a:buClr>
                <a:srgbClr val="000000"/>
              </a:buClr>
              <a:buSzPts val="3000"/>
              <a:defRPr/>
            </a:pPr>
            <a:r>
              <a:rPr lang="en-US" sz="4000" b="1" kern="0" dirty="0">
                <a:solidFill>
                  <a:srgbClr val="000000"/>
                </a:solidFill>
                <a:latin typeface="+mn-lt"/>
              </a:rPr>
              <a:t>Technical Anatomy of Clustering – Distance Algorithms</a:t>
            </a:r>
          </a:p>
        </p:txBody>
      </p:sp>
      <p:sp>
        <p:nvSpPr>
          <p:cNvPr id="12" name="TextBox 11">
            <a:extLst>
              <a:ext uri="{FF2B5EF4-FFF2-40B4-BE49-F238E27FC236}">
                <a16:creationId xmlns:a16="http://schemas.microsoft.com/office/drawing/2014/main" id="{88E8F694-71E9-41DE-A2CA-92D77875A014}"/>
              </a:ext>
            </a:extLst>
          </p:cNvPr>
          <p:cNvSpPr txBox="1"/>
          <p:nvPr/>
        </p:nvSpPr>
        <p:spPr>
          <a:xfrm>
            <a:off x="204788" y="565455"/>
            <a:ext cx="1172051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ifferent measures are used to calculate the distance. In this section, we’ll cover a few of the most common ones.</a:t>
            </a:r>
          </a:p>
        </p:txBody>
      </p:sp>
      <p:grpSp>
        <p:nvGrpSpPr>
          <p:cNvPr id="17" name="Group 16">
            <a:extLst>
              <a:ext uri="{FF2B5EF4-FFF2-40B4-BE49-F238E27FC236}">
                <a16:creationId xmlns:a16="http://schemas.microsoft.com/office/drawing/2014/main" id="{303C2775-E5D0-4FF2-B23F-2243872D4EDC}"/>
              </a:ext>
            </a:extLst>
          </p:cNvPr>
          <p:cNvGrpSpPr/>
          <p:nvPr/>
        </p:nvGrpSpPr>
        <p:grpSpPr>
          <a:xfrm>
            <a:off x="238125" y="1120829"/>
            <a:ext cx="2719387" cy="600074"/>
            <a:chOff x="4895849" y="1264846"/>
            <a:chExt cx="2966191" cy="600074"/>
          </a:xfrm>
        </p:grpSpPr>
        <p:sp>
          <p:nvSpPr>
            <p:cNvPr id="23" name="Rectangle: Rounded Corners 22">
              <a:extLst>
                <a:ext uri="{FF2B5EF4-FFF2-40B4-BE49-F238E27FC236}">
                  <a16:creationId xmlns:a16="http://schemas.microsoft.com/office/drawing/2014/main" id="{EA8433B5-E5C3-4786-95A9-7FD1FB7BEC3E}"/>
                </a:ext>
              </a:extLst>
            </p:cNvPr>
            <p:cNvSpPr/>
            <p:nvPr/>
          </p:nvSpPr>
          <p:spPr>
            <a:xfrm>
              <a:off x="5076825" y="1264846"/>
              <a:ext cx="2785215" cy="60007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wer Distance</a:t>
              </a:r>
              <a:endParaRPr kumimoji="0" lang="en-US" altLang="en-US" sz="20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4" name="Oval 23">
              <a:extLst>
                <a:ext uri="{FF2B5EF4-FFF2-40B4-BE49-F238E27FC236}">
                  <a16:creationId xmlns:a16="http://schemas.microsoft.com/office/drawing/2014/main" id="{7E196F75-6886-40CB-BD7F-0041CC545871}"/>
                </a:ext>
              </a:extLst>
            </p:cNvPr>
            <p:cNvSpPr/>
            <p:nvPr/>
          </p:nvSpPr>
          <p:spPr>
            <a:xfrm>
              <a:off x="4895849" y="1364859"/>
              <a:ext cx="428625" cy="400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grpSp>
      <p:sp>
        <p:nvSpPr>
          <p:cNvPr id="25" name="TextBox 24">
            <a:extLst>
              <a:ext uri="{FF2B5EF4-FFF2-40B4-BE49-F238E27FC236}">
                <a16:creationId xmlns:a16="http://schemas.microsoft.com/office/drawing/2014/main" id="{51F1B608-B0B1-4C04-9BB6-13ED7907700E}"/>
              </a:ext>
            </a:extLst>
          </p:cNvPr>
          <p:cNvSpPr txBox="1"/>
          <p:nvPr/>
        </p:nvSpPr>
        <p:spPr>
          <a:xfrm>
            <a:off x="431347" y="1731177"/>
            <a:ext cx="11589202"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2929"/>
                </a:solidFill>
                <a:effectLst/>
                <a:uLnTx/>
                <a:uFillTx/>
                <a:latin typeface="charter"/>
                <a:ea typeface="+mn-ea"/>
                <a:cs typeface="+mn-cs"/>
              </a:rPr>
              <a:t>Gower’s Distance can be used to measure how different two records are. The records may contain combination of logical, categorical, numerical or text data. The distance is always a number between 0 (identical) and 1 (maximally dissimilar). Data typ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92929"/>
                </a:solidFill>
                <a:effectLst/>
                <a:uLnTx/>
                <a:uFillTx/>
                <a:latin typeface="charter"/>
                <a:ea typeface="+mn-ea"/>
                <a:cs typeface="+mn-cs"/>
              </a:rPr>
              <a:t>quantitative (interval): range-normalized Manhattan dist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92929"/>
                </a:solidFill>
                <a:effectLst/>
                <a:uLnTx/>
                <a:uFillTx/>
                <a:latin typeface="charter"/>
                <a:ea typeface="+mn-ea"/>
                <a:cs typeface="+mn-cs"/>
              </a:rPr>
              <a:t>ordinal: variable is first ranked, then Manhattan distance is used with a special adjustment for 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92929"/>
                </a:solidFill>
                <a:effectLst/>
                <a:uLnTx/>
                <a:uFillTx/>
                <a:latin typeface="charter"/>
                <a:ea typeface="+mn-ea"/>
                <a:cs typeface="+mn-cs"/>
              </a:rPr>
              <a:t>nominal: variables of </a:t>
            </a:r>
            <a:r>
              <a:rPr kumimoji="0" lang="en-US" sz="1600" b="0" i="1" u="none" strike="noStrike" kern="1200" cap="none" spc="0" normalizeH="0" baseline="0" noProof="0" dirty="0">
                <a:ln>
                  <a:noFill/>
                </a:ln>
                <a:solidFill>
                  <a:srgbClr val="292929"/>
                </a:solidFill>
                <a:effectLst/>
                <a:uLnTx/>
                <a:uFillTx/>
                <a:latin typeface="charter"/>
                <a:ea typeface="+mn-ea"/>
                <a:cs typeface="+mn-cs"/>
              </a:rPr>
              <a:t>k</a:t>
            </a:r>
            <a:r>
              <a:rPr kumimoji="0" lang="en-US" sz="1600" b="0" i="0" u="none" strike="noStrike" kern="1200" cap="none" spc="0" normalizeH="0" baseline="0" noProof="0" dirty="0">
                <a:ln>
                  <a:noFill/>
                </a:ln>
                <a:solidFill>
                  <a:srgbClr val="292929"/>
                </a:solidFill>
                <a:effectLst/>
                <a:uLnTx/>
                <a:uFillTx/>
                <a:latin typeface="charter"/>
                <a:ea typeface="+mn-ea"/>
                <a:cs typeface="+mn-cs"/>
              </a:rPr>
              <a:t> categories are first converted into </a:t>
            </a:r>
            <a:r>
              <a:rPr kumimoji="0" lang="en-US" sz="1600" b="0" i="1" u="none" strike="noStrike" kern="1200" cap="none" spc="0" normalizeH="0" baseline="0" noProof="0" dirty="0">
                <a:ln>
                  <a:noFill/>
                </a:ln>
                <a:solidFill>
                  <a:srgbClr val="292929"/>
                </a:solidFill>
                <a:effectLst/>
                <a:uLnTx/>
                <a:uFillTx/>
                <a:latin typeface="charter"/>
                <a:ea typeface="+mn-ea"/>
                <a:cs typeface="+mn-cs"/>
              </a:rPr>
              <a:t>k</a:t>
            </a:r>
            <a:r>
              <a:rPr kumimoji="0" lang="en-US" sz="1600" b="0" i="0" u="none" strike="noStrike" kern="1200" cap="none" spc="0" normalizeH="0" baseline="0" noProof="0" dirty="0">
                <a:ln>
                  <a:noFill/>
                </a:ln>
                <a:solidFill>
                  <a:srgbClr val="292929"/>
                </a:solidFill>
                <a:effectLst/>
                <a:uLnTx/>
                <a:uFillTx/>
                <a:latin typeface="charter"/>
                <a:ea typeface="+mn-ea"/>
                <a:cs typeface="+mn-cs"/>
              </a:rPr>
              <a:t> binary columns and then the</a:t>
            </a:r>
            <a:r>
              <a:rPr kumimoji="0" lang="en-US" sz="1600" b="0" i="0" u="sng" strike="noStrike" kern="1200" cap="none" spc="0" normalizeH="0" baseline="0" noProof="0" dirty="0">
                <a:ln>
                  <a:noFill/>
                </a:ln>
                <a:solidFill>
                  <a:srgbClr val="292929"/>
                </a:solidFill>
                <a:effectLst/>
                <a:uLnTx/>
                <a:uFillTx/>
                <a:latin typeface="charter"/>
                <a:ea typeface="+mn-ea"/>
                <a:cs typeface="+mn-cs"/>
              </a:rPr>
              <a:t> Dice coefficient</a:t>
            </a:r>
            <a:r>
              <a:rPr kumimoji="0" lang="en-US" sz="1600" b="0" i="0" u="none" strike="noStrike" kern="1200" cap="none" spc="0" normalizeH="0" baseline="0" noProof="0" dirty="0">
                <a:ln>
                  <a:noFill/>
                </a:ln>
                <a:solidFill>
                  <a:srgbClr val="292929"/>
                </a:solidFill>
                <a:effectLst/>
                <a:uLnTx/>
                <a:uFillTx/>
                <a:latin typeface="charter"/>
                <a:ea typeface="+mn-ea"/>
                <a:cs typeface="+mn-cs"/>
              </a:rPr>
              <a:t> is us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92929"/>
              </a:solidFill>
              <a:effectLst/>
              <a:uLnTx/>
              <a:uFillTx/>
              <a:latin typeface="charte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2929"/>
                </a:solidFill>
                <a:effectLst/>
                <a:uLnTx/>
                <a:uFillTx/>
                <a:latin typeface="Calibri" panose="020F0502020204030204" pitchFamily="34" charset="0"/>
                <a:ea typeface="+mn-ea"/>
                <a:cs typeface="Calibri" panose="020F0502020204030204" pitchFamily="34" charset="0"/>
              </a:rPr>
              <a:t>*Refer to python  &amp; R notebooks to access the codes and examples</a:t>
            </a:r>
          </a:p>
        </p:txBody>
      </p:sp>
      <p:sp>
        <p:nvSpPr>
          <p:cNvPr id="26" name="TextBox 25">
            <a:extLst>
              <a:ext uri="{FF2B5EF4-FFF2-40B4-BE49-F238E27FC236}">
                <a16:creationId xmlns:a16="http://schemas.microsoft.com/office/drawing/2014/main" id="{E35489AA-73A0-4C6D-B6A2-D45C51C5A0A7}"/>
              </a:ext>
            </a:extLst>
          </p:cNvPr>
          <p:cNvSpPr txBox="1"/>
          <p:nvPr/>
        </p:nvSpPr>
        <p:spPr>
          <a:xfrm>
            <a:off x="273271" y="4253809"/>
            <a:ext cx="1181576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part from this there are quite a few distance measures like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Maholanobis</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distance etc. which is often used in many such exercises</a:t>
            </a:r>
          </a:p>
        </p:txBody>
      </p:sp>
      <p:sp>
        <p:nvSpPr>
          <p:cNvPr id="18" name="Rectangle: Rounded Corners 17">
            <a:extLst>
              <a:ext uri="{FF2B5EF4-FFF2-40B4-BE49-F238E27FC236}">
                <a16:creationId xmlns:a16="http://schemas.microsoft.com/office/drawing/2014/main" id="{F52C6726-C93E-459B-B050-672C2035893F}"/>
              </a:ext>
            </a:extLst>
          </p:cNvPr>
          <p:cNvSpPr/>
          <p:nvPr/>
        </p:nvSpPr>
        <p:spPr>
          <a:xfrm>
            <a:off x="10219350" y="888436"/>
            <a:ext cx="1869682" cy="5264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ixed Data</a:t>
            </a:r>
          </a:p>
        </p:txBody>
      </p:sp>
    </p:spTree>
    <p:extLst>
      <p:ext uri="{BB962C8B-B14F-4D97-AF65-F5344CB8AC3E}">
        <p14:creationId xmlns:p14="http://schemas.microsoft.com/office/powerpoint/2010/main" val="1623957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57</TotalTime>
  <Words>1709</Words>
  <Application>Microsoft Office PowerPoint</Application>
  <PresentationFormat>Widescreen</PresentationFormat>
  <Paragraphs>211</Paragraphs>
  <Slides>18</Slides>
  <Notes>2</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18</vt:i4>
      </vt:variant>
    </vt:vector>
  </HeadingPairs>
  <TitlesOfParts>
    <vt:vector size="33" baseType="lpstr">
      <vt:lpstr>Arial</vt:lpstr>
      <vt:lpstr>Calibri</vt:lpstr>
      <vt:lpstr>Calibri Light</vt:lpstr>
      <vt:lpstr>charter</vt:lpstr>
      <vt:lpstr>Raleway</vt:lpstr>
      <vt:lpstr>Roboto</vt:lpstr>
      <vt:lpstr>Source Sans Pro</vt:lpstr>
      <vt:lpstr>1_Office Theme</vt:lpstr>
      <vt:lpstr>2_Office Theme</vt:lpstr>
      <vt:lpstr>3_Office Theme</vt:lpstr>
      <vt:lpstr>4_Office Theme</vt:lpstr>
      <vt:lpstr>5_Office Theme</vt:lpstr>
      <vt:lpstr>6_Office Theme</vt:lpstr>
      <vt:lpstr>7_Office Theme</vt:lpstr>
      <vt:lpstr>think-cell Slide</vt:lpstr>
      <vt:lpstr>Unsupervised Learning – Clustering </vt:lpstr>
      <vt:lpstr>Education &amp; Employment History</vt:lpstr>
      <vt:lpstr>Agenda/Objective of the session</vt:lpstr>
      <vt:lpstr>What is Unsupervised learning?</vt:lpstr>
      <vt:lpstr>What is Clustering?</vt:lpstr>
      <vt:lpstr>Types of clustering</vt:lpstr>
      <vt:lpstr>Technical Anatomy of Clustering – Distance Algorithms</vt:lpstr>
      <vt:lpstr>Technical Anatomy of Clustering – Distance Algorithms</vt:lpstr>
      <vt:lpstr>Technical Anatomy of Clustering – Distance Algorithms</vt:lpstr>
      <vt:lpstr>PowerPoint Presentation</vt:lpstr>
      <vt:lpstr>Evaluation of Clusters</vt:lpstr>
      <vt:lpstr>PowerPoint Presentation</vt:lpstr>
      <vt:lpstr>Process Flow for Cluster Analysis – K-means</vt:lpstr>
      <vt:lpstr>Clustering Algorithm in Action</vt:lpstr>
      <vt:lpstr>Challenges with k-means clustering</vt:lpstr>
      <vt:lpstr>Other Types of Clustering – enter the Bigger Universe</vt:lpstr>
      <vt:lpstr>Move to Python Notebooks</vt:lpstr>
      <vt:lpstr>Cluster Solu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supervised Learning – Clustering </dc:title>
  <dc:creator>Aniket Chhabra</dc:creator>
  <cp:lastModifiedBy>Aniket Chhabra</cp:lastModifiedBy>
  <cp:revision>1</cp:revision>
  <dcterms:created xsi:type="dcterms:W3CDTF">2021-03-28T00:36:41Z</dcterms:created>
  <dcterms:modified xsi:type="dcterms:W3CDTF">2021-10-16T05:09:25Z</dcterms:modified>
</cp:coreProperties>
</file>